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8"/>
    <p:sldMasterId id="2147483705" r:id="rId9"/>
  </p:sldMasterIdLst>
  <p:notesMasterIdLst>
    <p:notesMasterId r:id="rId16"/>
  </p:notesMasterIdLst>
  <p:sldIdLst>
    <p:sldId id="268" r:id="rId10"/>
    <p:sldId id="285" r:id="rId11"/>
    <p:sldId id="286" r:id="rId12"/>
    <p:sldId id="287" r:id="rId13"/>
    <p:sldId id="289" r:id="rId14"/>
    <p:sldId id="4901"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F22C60-B459-4B9D-AE0B-DCF264E76072}" v="47" dt="2024-02-26T11:20:01.711"/>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300" autoAdjust="0"/>
  </p:normalViewPr>
  <p:slideViewPr>
    <p:cSldViewPr snapToGrid="0">
      <p:cViewPr varScale="1">
        <p:scale>
          <a:sx n="59" d="100"/>
          <a:sy n="59" d="100"/>
        </p:scale>
        <p:origin x="72" y="224"/>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4.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customXml" Target="../customXml/item7.xml"/><Relationship Id="rId12" Type="http://schemas.openxmlformats.org/officeDocument/2006/relationships/slide" Target="slides/slide3.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5" Type="http://schemas.openxmlformats.org/officeDocument/2006/relationships/customXml" Target="../customXml/item5.xml"/><Relationship Id="rId15" Type="http://schemas.openxmlformats.org/officeDocument/2006/relationships/slide" Target="slides/slide6.xml"/><Relationship Id="rId23"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5.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ssann Nasr" userId="97f28fd0-140b-434d-95e6-094c6873cbda" providerId="ADAL" clId="{18F22C60-B459-4B9D-AE0B-DCF264E76072}"/>
    <pc:docChg chg="undo custSel addSld delSld modSld">
      <pc:chgData name="Sussann Nasr" userId="97f28fd0-140b-434d-95e6-094c6873cbda" providerId="ADAL" clId="{18F22C60-B459-4B9D-AE0B-DCF264E76072}" dt="2024-02-26T12:00:28.760" v="3119" actId="2"/>
      <pc:docMkLst>
        <pc:docMk/>
      </pc:docMkLst>
      <pc:sldChg chg="del">
        <pc:chgData name="Sussann Nasr" userId="97f28fd0-140b-434d-95e6-094c6873cbda" providerId="ADAL" clId="{18F22C60-B459-4B9D-AE0B-DCF264E76072}" dt="2024-02-23T12:57:41.268" v="2597" actId="47"/>
        <pc:sldMkLst>
          <pc:docMk/>
          <pc:sldMk cId="3080010084" sldId="262"/>
        </pc:sldMkLst>
      </pc:sldChg>
      <pc:sldChg chg="addSp modSp mod">
        <pc:chgData name="Sussann Nasr" userId="97f28fd0-140b-434d-95e6-094c6873cbda" providerId="ADAL" clId="{18F22C60-B459-4B9D-AE0B-DCF264E76072}" dt="2024-02-26T10:44:57.623" v="2701" actId="1076"/>
        <pc:sldMkLst>
          <pc:docMk/>
          <pc:sldMk cId="2585336487" sldId="268"/>
        </pc:sldMkLst>
        <pc:spChg chg="mod">
          <ac:chgData name="Sussann Nasr" userId="97f28fd0-140b-434d-95e6-094c6873cbda" providerId="ADAL" clId="{18F22C60-B459-4B9D-AE0B-DCF264E76072}" dt="2024-02-26T10:44:30.949" v="2698" actId="20577"/>
          <ac:spMkLst>
            <pc:docMk/>
            <pc:sldMk cId="2585336487" sldId="268"/>
            <ac:spMk id="2" creationId="{1DF6E622-B484-4C5E-9FA1-B84DACEEB997}"/>
          </ac:spMkLst>
        </pc:spChg>
        <pc:spChg chg="mod">
          <ac:chgData name="Sussann Nasr" userId="97f28fd0-140b-434d-95e6-094c6873cbda" providerId="ADAL" clId="{18F22C60-B459-4B9D-AE0B-DCF264E76072}" dt="2024-02-26T10:44:57.623" v="2701" actId="1076"/>
          <ac:spMkLst>
            <pc:docMk/>
            <pc:sldMk cId="2585336487" sldId="268"/>
            <ac:spMk id="3" creationId="{F46AFC8C-067F-4462-89BD-CA42D043C081}"/>
          </ac:spMkLst>
        </pc:spChg>
        <pc:picChg chg="add mod">
          <ac:chgData name="Sussann Nasr" userId="97f28fd0-140b-434d-95e6-094c6873cbda" providerId="ADAL" clId="{18F22C60-B459-4B9D-AE0B-DCF264E76072}" dt="2024-02-26T10:20:38.860" v="2601" actId="962"/>
          <ac:picMkLst>
            <pc:docMk/>
            <pc:sldMk cId="2585336487" sldId="268"/>
            <ac:picMk id="5" creationId="{B8B34679-316B-E277-40CE-BF272C7BC19E}"/>
          </ac:picMkLst>
        </pc:picChg>
      </pc:sldChg>
      <pc:sldChg chg="del">
        <pc:chgData name="Sussann Nasr" userId="97f28fd0-140b-434d-95e6-094c6873cbda" providerId="ADAL" clId="{18F22C60-B459-4B9D-AE0B-DCF264E76072}" dt="2024-02-23T12:34:30.888" v="244" actId="47"/>
        <pc:sldMkLst>
          <pc:docMk/>
          <pc:sldMk cId="659082948" sldId="276"/>
        </pc:sldMkLst>
      </pc:sldChg>
      <pc:sldChg chg="del">
        <pc:chgData name="Sussann Nasr" userId="97f28fd0-140b-434d-95e6-094c6873cbda" providerId="ADAL" clId="{18F22C60-B459-4B9D-AE0B-DCF264E76072}" dt="2024-02-23T12:57:38.271" v="2593" actId="47"/>
        <pc:sldMkLst>
          <pc:docMk/>
          <pc:sldMk cId="2345729316" sldId="277"/>
        </pc:sldMkLst>
      </pc:sldChg>
      <pc:sldChg chg="del">
        <pc:chgData name="Sussann Nasr" userId="97f28fd0-140b-434d-95e6-094c6873cbda" providerId="ADAL" clId="{18F22C60-B459-4B9D-AE0B-DCF264E76072}" dt="2024-02-23T12:57:39.049" v="2594" actId="47"/>
        <pc:sldMkLst>
          <pc:docMk/>
          <pc:sldMk cId="2957517452" sldId="278"/>
        </pc:sldMkLst>
      </pc:sldChg>
      <pc:sldChg chg="del">
        <pc:chgData name="Sussann Nasr" userId="97f28fd0-140b-434d-95e6-094c6873cbda" providerId="ADAL" clId="{18F22C60-B459-4B9D-AE0B-DCF264E76072}" dt="2024-02-23T12:57:39.805" v="2595" actId="47"/>
        <pc:sldMkLst>
          <pc:docMk/>
          <pc:sldMk cId="2694748857" sldId="279"/>
        </pc:sldMkLst>
      </pc:sldChg>
      <pc:sldChg chg="del">
        <pc:chgData name="Sussann Nasr" userId="97f28fd0-140b-434d-95e6-094c6873cbda" providerId="ADAL" clId="{18F22C60-B459-4B9D-AE0B-DCF264E76072}" dt="2024-02-23T12:57:40.495" v="2596" actId="47"/>
        <pc:sldMkLst>
          <pc:docMk/>
          <pc:sldMk cId="3695656154" sldId="284"/>
        </pc:sldMkLst>
      </pc:sldChg>
      <pc:sldChg chg="addSp delSp modSp mod setBg">
        <pc:chgData name="Sussann Nasr" userId="97f28fd0-140b-434d-95e6-094c6873cbda" providerId="ADAL" clId="{18F22C60-B459-4B9D-AE0B-DCF264E76072}" dt="2024-02-26T12:00:11.132" v="3114" actId="2"/>
        <pc:sldMkLst>
          <pc:docMk/>
          <pc:sldMk cId="317558916" sldId="285"/>
        </pc:sldMkLst>
        <pc:spChg chg="add del mod">
          <ac:chgData name="Sussann Nasr" userId="97f28fd0-140b-434d-95e6-094c6873cbda" providerId="ADAL" clId="{18F22C60-B459-4B9D-AE0B-DCF264E76072}" dt="2024-02-26T10:40:39.773" v="2677" actId="478"/>
          <ac:spMkLst>
            <pc:docMk/>
            <pc:sldMk cId="317558916" sldId="285"/>
            <ac:spMk id="7" creationId="{109D6B41-792D-E17F-642C-E3DFF28B2704}"/>
          </ac:spMkLst>
        </pc:spChg>
        <pc:spChg chg="add mod">
          <ac:chgData name="Sussann Nasr" userId="97f28fd0-140b-434d-95e6-094c6873cbda" providerId="ADAL" clId="{18F22C60-B459-4B9D-AE0B-DCF264E76072}" dt="2024-02-26T10:41:56.476" v="2682" actId="1076"/>
          <ac:spMkLst>
            <pc:docMk/>
            <pc:sldMk cId="317558916" sldId="285"/>
            <ac:spMk id="10" creationId="{A6F47AE4-21D4-EB4C-A2A7-C9D0F91B0588}"/>
          </ac:spMkLst>
        </pc:spChg>
        <pc:spChg chg="add mod">
          <ac:chgData name="Sussann Nasr" userId="97f28fd0-140b-434d-95e6-094c6873cbda" providerId="ADAL" clId="{18F22C60-B459-4B9D-AE0B-DCF264E76072}" dt="2024-02-26T10:42:59.221" v="2689" actId="207"/>
          <ac:spMkLst>
            <pc:docMk/>
            <pc:sldMk cId="317558916" sldId="285"/>
            <ac:spMk id="11" creationId="{31943C4B-43DF-E5EA-D979-9DAAA3251974}"/>
          </ac:spMkLst>
        </pc:spChg>
        <pc:spChg chg="mod">
          <ac:chgData name="Sussann Nasr" userId="97f28fd0-140b-434d-95e6-094c6873cbda" providerId="ADAL" clId="{18F22C60-B459-4B9D-AE0B-DCF264E76072}" dt="2024-02-26T11:09:32.086" v="2977" actId="20577"/>
          <ac:spMkLst>
            <pc:docMk/>
            <pc:sldMk cId="317558916" sldId="285"/>
            <ac:spMk id="14" creationId="{E04F6A9D-AD96-D611-8BE8-1FE039534487}"/>
          </ac:spMkLst>
        </pc:spChg>
        <pc:spChg chg="mod">
          <ac:chgData name="Sussann Nasr" userId="97f28fd0-140b-434d-95e6-094c6873cbda" providerId="ADAL" clId="{18F22C60-B459-4B9D-AE0B-DCF264E76072}" dt="2024-02-26T12:00:11.132" v="3114" actId="2"/>
          <ac:spMkLst>
            <pc:docMk/>
            <pc:sldMk cId="317558916" sldId="285"/>
            <ac:spMk id="16" creationId="{EE09CC5F-B639-967F-E6E0-49E3C2F7DD94}"/>
          </ac:spMkLst>
        </pc:spChg>
        <pc:graphicFrameChg chg="del mod">
          <ac:chgData name="Sussann Nasr" userId="97f28fd0-140b-434d-95e6-094c6873cbda" providerId="ADAL" clId="{18F22C60-B459-4B9D-AE0B-DCF264E76072}" dt="2024-02-26T10:40:07.986" v="2666" actId="478"/>
          <ac:graphicFrameMkLst>
            <pc:docMk/>
            <pc:sldMk cId="317558916" sldId="285"/>
            <ac:graphicFrameMk id="6" creationId="{CE9CC9BA-79D4-CCF6-842E-543CA5FB25EB}"/>
          </ac:graphicFrameMkLst>
        </pc:graphicFrameChg>
        <pc:graphicFrameChg chg="mod">
          <ac:chgData name="Sussann Nasr" userId="97f28fd0-140b-434d-95e6-094c6873cbda" providerId="ADAL" clId="{18F22C60-B459-4B9D-AE0B-DCF264E76072}" dt="2024-02-26T10:50:45.004" v="2759" actId="255"/>
          <ac:graphicFrameMkLst>
            <pc:docMk/>
            <pc:sldMk cId="317558916" sldId="285"/>
            <ac:graphicFrameMk id="8" creationId="{E46A07A6-B95A-487D-3094-BA798433BBBA}"/>
          </ac:graphicFrameMkLst>
        </pc:graphicFrameChg>
        <pc:graphicFrameChg chg="add mod">
          <ac:chgData name="Sussann Nasr" userId="97f28fd0-140b-434d-95e6-094c6873cbda" providerId="ADAL" clId="{18F22C60-B459-4B9D-AE0B-DCF264E76072}" dt="2024-02-26T10:41:28.221" v="2679"/>
          <ac:graphicFrameMkLst>
            <pc:docMk/>
            <pc:sldMk cId="317558916" sldId="285"/>
            <ac:graphicFrameMk id="9" creationId="{923829F7-2E91-E4A8-42F1-E18E6A1BA5C6}"/>
          </ac:graphicFrameMkLst>
        </pc:graphicFrameChg>
        <pc:picChg chg="add mod ord">
          <ac:chgData name="Sussann Nasr" userId="97f28fd0-140b-434d-95e6-094c6873cbda" providerId="ADAL" clId="{18F22C60-B459-4B9D-AE0B-DCF264E76072}" dt="2024-02-26T10:22:20.344" v="2608"/>
          <ac:picMkLst>
            <pc:docMk/>
            <pc:sldMk cId="317558916" sldId="285"/>
            <ac:picMk id="4" creationId="{886E6554-77DB-3939-1428-7D7B769F955D}"/>
          </ac:picMkLst>
        </pc:picChg>
      </pc:sldChg>
      <pc:sldChg chg="addSp delSp modSp new mod modClrScheme chgLayout">
        <pc:chgData name="Sussann Nasr" userId="97f28fd0-140b-434d-95e6-094c6873cbda" providerId="ADAL" clId="{18F22C60-B459-4B9D-AE0B-DCF264E76072}" dt="2024-02-26T11:09:20.360" v="2975" actId="5793"/>
        <pc:sldMkLst>
          <pc:docMk/>
          <pc:sldMk cId="404459337" sldId="286"/>
        </pc:sldMkLst>
        <pc:spChg chg="mod ord">
          <ac:chgData name="Sussann Nasr" userId="97f28fd0-140b-434d-95e6-094c6873cbda" providerId="ADAL" clId="{18F22C60-B459-4B9D-AE0B-DCF264E76072}" dt="2024-02-26T10:54:10.604" v="2779" actId="700"/>
          <ac:spMkLst>
            <pc:docMk/>
            <pc:sldMk cId="404459337" sldId="286"/>
            <ac:spMk id="2" creationId="{C70573A4-72FE-0591-3875-8EE7F893CD03}"/>
          </ac:spMkLst>
        </pc:spChg>
        <pc:spChg chg="del mod ord">
          <ac:chgData name="Sussann Nasr" userId="97f28fd0-140b-434d-95e6-094c6873cbda" providerId="ADAL" clId="{18F22C60-B459-4B9D-AE0B-DCF264E76072}" dt="2024-02-23T12:40:09.869" v="845" actId="700"/>
          <ac:spMkLst>
            <pc:docMk/>
            <pc:sldMk cId="404459337" sldId="286"/>
            <ac:spMk id="3" creationId="{7CB569E4-CE10-1688-5B26-0280B76F93B9}"/>
          </ac:spMkLst>
        </pc:spChg>
        <pc:spChg chg="add del mod ord">
          <ac:chgData name="Sussann Nasr" userId="97f28fd0-140b-434d-95e6-094c6873cbda" providerId="ADAL" clId="{18F22C60-B459-4B9D-AE0B-DCF264E76072}" dt="2024-02-26T11:09:20.360" v="2975" actId="5793"/>
          <ac:spMkLst>
            <pc:docMk/>
            <pc:sldMk cId="404459337" sldId="286"/>
            <ac:spMk id="4" creationId="{77B95FEA-F34F-8444-B44B-E9BBA6FB0839}"/>
          </ac:spMkLst>
        </pc:spChg>
        <pc:spChg chg="mod ord">
          <ac:chgData name="Sussann Nasr" userId="97f28fd0-140b-434d-95e6-094c6873cbda" providerId="ADAL" clId="{18F22C60-B459-4B9D-AE0B-DCF264E76072}" dt="2024-02-26T10:57:34.561" v="2807" actId="21"/>
          <ac:spMkLst>
            <pc:docMk/>
            <pc:sldMk cId="404459337" sldId="286"/>
            <ac:spMk id="5" creationId="{549587BE-79AE-F95B-A6A0-7EFE7BB463CE}"/>
          </ac:spMkLst>
        </pc:spChg>
        <pc:spChg chg="del mod ord">
          <ac:chgData name="Sussann Nasr" userId="97f28fd0-140b-434d-95e6-094c6873cbda" providerId="ADAL" clId="{18F22C60-B459-4B9D-AE0B-DCF264E76072}" dt="2024-02-23T12:40:09.869" v="845" actId="700"/>
          <ac:spMkLst>
            <pc:docMk/>
            <pc:sldMk cId="404459337" sldId="286"/>
            <ac:spMk id="6" creationId="{1F806F32-F0E1-16C7-E1BD-98897D62B4E9}"/>
          </ac:spMkLst>
        </pc:spChg>
        <pc:spChg chg="add mod ord">
          <ac:chgData name="Sussann Nasr" userId="97f28fd0-140b-434d-95e6-094c6873cbda" providerId="ADAL" clId="{18F22C60-B459-4B9D-AE0B-DCF264E76072}" dt="2024-02-26T10:57:36.910" v="2808"/>
          <ac:spMkLst>
            <pc:docMk/>
            <pc:sldMk cId="404459337" sldId="286"/>
            <ac:spMk id="6" creationId="{36951E3E-7B74-24EC-E5F8-149E4193244E}"/>
          </ac:spMkLst>
        </pc:spChg>
        <pc:spChg chg="add del mod ord">
          <ac:chgData name="Sussann Nasr" userId="97f28fd0-140b-434d-95e6-094c6873cbda" providerId="ADAL" clId="{18F22C60-B459-4B9D-AE0B-DCF264E76072}" dt="2024-02-23T12:40:13.589" v="846" actId="478"/>
          <ac:spMkLst>
            <pc:docMk/>
            <pc:sldMk cId="404459337" sldId="286"/>
            <ac:spMk id="7" creationId="{6CF7B143-8FE6-7FFA-F9CB-24B65A0381CE}"/>
          </ac:spMkLst>
        </pc:spChg>
        <pc:spChg chg="add mod ord">
          <ac:chgData name="Sussann Nasr" userId="97f28fd0-140b-434d-95e6-094c6873cbda" providerId="ADAL" clId="{18F22C60-B459-4B9D-AE0B-DCF264E76072}" dt="2024-02-26T11:08:33.091" v="2968" actId="113"/>
          <ac:spMkLst>
            <pc:docMk/>
            <pc:sldMk cId="404459337" sldId="286"/>
            <ac:spMk id="7" creationId="{D179ABAB-FE37-A7D8-748C-9C9D2AC1ADC8}"/>
          </ac:spMkLst>
        </pc:spChg>
        <pc:spChg chg="add mod">
          <ac:chgData name="Sussann Nasr" userId="97f28fd0-140b-434d-95e6-094c6873cbda" providerId="ADAL" clId="{18F22C60-B459-4B9D-AE0B-DCF264E76072}" dt="2024-02-26T10:54:41.472" v="2782"/>
          <ac:spMkLst>
            <pc:docMk/>
            <pc:sldMk cId="404459337" sldId="286"/>
            <ac:spMk id="8" creationId="{84EC67D7-1A6D-FA4D-318F-717F29EA7D41}"/>
          </ac:spMkLst>
        </pc:spChg>
        <pc:picChg chg="add del mod">
          <ac:chgData name="Sussann Nasr" userId="97f28fd0-140b-434d-95e6-094c6873cbda" providerId="ADAL" clId="{18F22C60-B459-4B9D-AE0B-DCF264E76072}" dt="2024-02-26T10:57:10.385" v="2806" actId="21"/>
          <ac:picMkLst>
            <pc:docMk/>
            <pc:sldMk cId="404459337" sldId="286"/>
            <ac:picMk id="3" creationId="{984C9CCB-1B9A-3F69-CEDB-247D437096DC}"/>
          </ac:picMkLst>
        </pc:picChg>
      </pc:sldChg>
      <pc:sldChg chg="addSp delSp modSp new mod modClrScheme chgLayout">
        <pc:chgData name="Sussann Nasr" userId="97f28fd0-140b-434d-95e6-094c6873cbda" providerId="ADAL" clId="{18F22C60-B459-4B9D-AE0B-DCF264E76072}" dt="2024-02-26T12:00:18.050" v="3115" actId="2"/>
        <pc:sldMkLst>
          <pc:docMk/>
          <pc:sldMk cId="1620327826" sldId="287"/>
        </pc:sldMkLst>
        <pc:spChg chg="mod">
          <ac:chgData name="Sussann Nasr" userId="97f28fd0-140b-434d-95e6-094c6873cbda" providerId="ADAL" clId="{18F22C60-B459-4B9D-AE0B-DCF264E76072}" dt="2024-02-26T10:23:52.035" v="2620" actId="26606"/>
          <ac:spMkLst>
            <pc:docMk/>
            <pc:sldMk cId="1620327826" sldId="287"/>
            <ac:spMk id="2" creationId="{7027FFF0-14C3-F0F1-E7BE-3E9CE40775ED}"/>
          </ac:spMkLst>
        </pc:spChg>
        <pc:spChg chg="del mod">
          <ac:chgData name="Sussann Nasr" userId="97f28fd0-140b-434d-95e6-094c6873cbda" providerId="ADAL" clId="{18F22C60-B459-4B9D-AE0B-DCF264E76072}" dt="2024-02-26T10:25:00.308" v="2626" actId="478"/>
          <ac:spMkLst>
            <pc:docMk/>
            <pc:sldMk cId="1620327826" sldId="287"/>
            <ac:spMk id="3" creationId="{42BA8FEC-F57C-9BBC-B133-394E329665D5}"/>
          </ac:spMkLst>
        </pc:spChg>
        <pc:spChg chg="mod ord">
          <ac:chgData name="Sussann Nasr" userId="97f28fd0-140b-434d-95e6-094c6873cbda" providerId="ADAL" clId="{18F22C60-B459-4B9D-AE0B-DCF264E76072}" dt="2024-02-26T11:00:12.216" v="2829" actId="27636"/>
          <ac:spMkLst>
            <pc:docMk/>
            <pc:sldMk cId="1620327826" sldId="287"/>
            <ac:spMk id="4" creationId="{8D4E6032-324D-667A-430D-CA96D155E3D4}"/>
          </ac:spMkLst>
        </pc:spChg>
        <pc:spChg chg="del">
          <ac:chgData name="Sussann Nasr" userId="97f28fd0-140b-434d-95e6-094c6873cbda" providerId="ADAL" clId="{18F22C60-B459-4B9D-AE0B-DCF264E76072}" dt="2024-02-23T12:43:53.588" v="1522" actId="478"/>
          <ac:spMkLst>
            <pc:docMk/>
            <pc:sldMk cId="1620327826" sldId="287"/>
            <ac:spMk id="5" creationId="{B34F6F8B-D956-D9C0-A987-CF389FB4553E}"/>
          </ac:spMkLst>
        </pc:spChg>
        <pc:spChg chg="add del mod ord">
          <ac:chgData name="Sussann Nasr" userId="97f28fd0-140b-434d-95e6-094c6873cbda" providerId="ADAL" clId="{18F22C60-B459-4B9D-AE0B-DCF264E76072}" dt="2024-02-26T10:26:35.355" v="2631" actId="700"/>
          <ac:spMkLst>
            <pc:docMk/>
            <pc:sldMk cId="1620327826" sldId="287"/>
            <ac:spMk id="7" creationId="{A7B488A2-CAD6-9F48-AC39-46264BE50343}"/>
          </ac:spMkLst>
        </pc:spChg>
        <pc:spChg chg="add del mod ord">
          <ac:chgData name="Sussann Nasr" userId="97f28fd0-140b-434d-95e6-094c6873cbda" providerId="ADAL" clId="{18F22C60-B459-4B9D-AE0B-DCF264E76072}" dt="2024-02-26T10:29:22.882" v="2650" actId="478"/>
          <ac:spMkLst>
            <pc:docMk/>
            <pc:sldMk cId="1620327826" sldId="287"/>
            <ac:spMk id="8" creationId="{121768C6-8196-1457-1E21-15C4FD05026E}"/>
          </ac:spMkLst>
        </pc:spChg>
        <pc:spChg chg="add mod ord">
          <ac:chgData name="Sussann Nasr" userId="97f28fd0-140b-434d-95e6-094c6873cbda" providerId="ADAL" clId="{18F22C60-B459-4B9D-AE0B-DCF264E76072}" dt="2024-02-26T12:00:18.050" v="3115" actId="2"/>
          <ac:spMkLst>
            <pc:docMk/>
            <pc:sldMk cId="1620327826" sldId="287"/>
            <ac:spMk id="9" creationId="{48D211F0-EFA3-0ED4-3DE1-5F103BA1D569}"/>
          </ac:spMkLst>
        </pc:spChg>
        <pc:spChg chg="add del mod ord">
          <ac:chgData name="Sussann Nasr" userId="97f28fd0-140b-434d-95e6-094c6873cbda" providerId="ADAL" clId="{18F22C60-B459-4B9D-AE0B-DCF264E76072}" dt="2024-02-26T10:28:59.189" v="2643"/>
          <ac:spMkLst>
            <pc:docMk/>
            <pc:sldMk cId="1620327826" sldId="287"/>
            <ac:spMk id="11" creationId="{54D5E2B9-74C5-545F-C4F9-B6A12D907B0D}"/>
          </ac:spMkLst>
        </pc:spChg>
        <pc:spChg chg="add mod ord">
          <ac:chgData name="Sussann Nasr" userId="97f28fd0-140b-434d-95e6-094c6873cbda" providerId="ADAL" clId="{18F22C60-B459-4B9D-AE0B-DCF264E76072}" dt="2024-02-26T10:26:35.355" v="2631" actId="700"/>
          <ac:spMkLst>
            <pc:docMk/>
            <pc:sldMk cId="1620327826" sldId="287"/>
            <ac:spMk id="13" creationId="{C9CA694A-953B-A6DB-7A00-7D0DA8545F22}"/>
          </ac:spMkLst>
        </pc:spChg>
        <pc:spChg chg="add del mod">
          <ac:chgData name="Sussann Nasr" userId="97f28fd0-140b-434d-95e6-094c6873cbda" providerId="ADAL" clId="{18F22C60-B459-4B9D-AE0B-DCF264E76072}" dt="2024-02-26T10:25:19.356" v="2627" actId="700"/>
          <ac:spMkLst>
            <pc:docMk/>
            <pc:sldMk cId="1620327826" sldId="287"/>
            <ac:spMk id="15" creationId="{DECE21A4-B0CC-5890-8A75-F7DEF40AD5B6}"/>
          </ac:spMkLst>
        </pc:spChg>
        <pc:picChg chg="add del mod ord">
          <ac:chgData name="Sussann Nasr" userId="97f28fd0-140b-434d-95e6-094c6873cbda" providerId="ADAL" clId="{18F22C60-B459-4B9D-AE0B-DCF264E76072}" dt="2024-02-26T10:27:24.712" v="2637" actId="21"/>
          <ac:picMkLst>
            <pc:docMk/>
            <pc:sldMk cId="1620327826" sldId="287"/>
            <ac:picMk id="6" creationId="{D4F1E9BE-098E-C0D1-F7DE-1974D7C29679}"/>
          </ac:picMkLst>
        </pc:picChg>
        <pc:picChg chg="add mod">
          <ac:chgData name="Sussann Nasr" userId="97f28fd0-140b-434d-95e6-094c6873cbda" providerId="ADAL" clId="{18F22C60-B459-4B9D-AE0B-DCF264E76072}" dt="2024-02-26T11:07:41.281" v="2963" actId="1076"/>
          <ac:picMkLst>
            <pc:docMk/>
            <pc:sldMk cId="1620327826" sldId="287"/>
            <ac:picMk id="12" creationId="{755112C6-9A3C-D1ED-1DFA-59BCF90C9AE6}"/>
          </ac:picMkLst>
        </pc:picChg>
      </pc:sldChg>
      <pc:sldChg chg="new del">
        <pc:chgData name="Sussann Nasr" userId="97f28fd0-140b-434d-95e6-094c6873cbda" providerId="ADAL" clId="{18F22C60-B459-4B9D-AE0B-DCF264E76072}" dt="2024-02-23T12:57:37.111" v="2592" actId="47"/>
        <pc:sldMkLst>
          <pc:docMk/>
          <pc:sldMk cId="3524661416" sldId="288"/>
        </pc:sldMkLst>
      </pc:sldChg>
      <pc:sldChg chg="delSp modSp new mod">
        <pc:chgData name="Sussann Nasr" userId="97f28fd0-140b-434d-95e6-094c6873cbda" providerId="ADAL" clId="{18F22C60-B459-4B9D-AE0B-DCF264E76072}" dt="2024-02-26T12:00:26.327" v="3118" actId="2"/>
        <pc:sldMkLst>
          <pc:docMk/>
          <pc:sldMk cId="1115093392" sldId="289"/>
        </pc:sldMkLst>
        <pc:spChg chg="mod">
          <ac:chgData name="Sussann Nasr" userId="97f28fd0-140b-434d-95e6-094c6873cbda" providerId="ADAL" clId="{18F22C60-B459-4B9D-AE0B-DCF264E76072}" dt="2024-02-26T12:00:21.711" v="3117" actId="2"/>
          <ac:spMkLst>
            <pc:docMk/>
            <pc:sldMk cId="1115093392" sldId="289"/>
            <ac:spMk id="3" creationId="{BDA147EE-77EC-CFC6-8670-755DA4A1AD08}"/>
          </ac:spMkLst>
        </pc:spChg>
        <pc:spChg chg="mod">
          <ac:chgData name="Sussann Nasr" userId="97f28fd0-140b-434d-95e6-094c6873cbda" providerId="ADAL" clId="{18F22C60-B459-4B9D-AE0B-DCF264E76072}" dt="2024-02-26T12:00:26.327" v="3118" actId="2"/>
          <ac:spMkLst>
            <pc:docMk/>
            <pc:sldMk cId="1115093392" sldId="289"/>
            <ac:spMk id="4" creationId="{B823DFA9-1A23-E60E-D720-4502A88BE4FF}"/>
          </ac:spMkLst>
        </pc:spChg>
        <pc:spChg chg="del">
          <ac:chgData name="Sussann Nasr" userId="97f28fd0-140b-434d-95e6-094c6873cbda" providerId="ADAL" clId="{18F22C60-B459-4B9D-AE0B-DCF264E76072}" dt="2024-02-23T12:55:05.820" v="2591" actId="478"/>
          <ac:spMkLst>
            <pc:docMk/>
            <pc:sldMk cId="1115093392" sldId="289"/>
            <ac:spMk id="5" creationId="{9DABB8DA-613C-6D0B-BF14-C42242464936}"/>
          </ac:spMkLst>
        </pc:spChg>
      </pc:sldChg>
      <pc:sldChg chg="addSp delSp modSp mod modClrScheme chgLayout">
        <pc:chgData name="Sussann Nasr" userId="97f28fd0-140b-434d-95e6-094c6873cbda" providerId="ADAL" clId="{18F22C60-B459-4B9D-AE0B-DCF264E76072}" dt="2024-02-26T12:00:28.760" v="3119" actId="2"/>
        <pc:sldMkLst>
          <pc:docMk/>
          <pc:sldMk cId="14233017" sldId="4901"/>
        </pc:sldMkLst>
        <pc:spChg chg="mod ord">
          <ac:chgData name="Sussann Nasr" userId="97f28fd0-140b-434d-95e6-094c6873cbda" providerId="ADAL" clId="{18F22C60-B459-4B9D-AE0B-DCF264E76072}" dt="2024-02-26T12:00:28.760" v="3119" actId="2"/>
          <ac:spMkLst>
            <pc:docMk/>
            <pc:sldMk cId="14233017" sldId="4901"/>
            <ac:spMk id="2" creationId="{EBD1E287-E89B-ADA2-77DB-C9DAD2E7BB27}"/>
          </ac:spMkLst>
        </pc:spChg>
        <pc:spChg chg="add del mod ord">
          <ac:chgData name="Sussann Nasr" userId="97f28fd0-140b-434d-95e6-094c6873cbda" providerId="ADAL" clId="{18F22C60-B459-4B9D-AE0B-DCF264E76072}" dt="2024-02-26T11:20:01.710" v="3084" actId="931"/>
          <ac:spMkLst>
            <pc:docMk/>
            <pc:sldMk cId="14233017" sldId="4901"/>
            <ac:spMk id="3" creationId="{46063ECE-6FB3-5E25-8025-76678E76B160}"/>
          </ac:spMkLst>
        </pc:spChg>
        <pc:spChg chg="add del mod ord">
          <ac:chgData name="Sussann Nasr" userId="97f28fd0-140b-434d-95e6-094c6873cbda" providerId="ADAL" clId="{18F22C60-B459-4B9D-AE0B-DCF264E76072}" dt="2024-02-26T11:20:38.999" v="3089" actId="700"/>
          <ac:spMkLst>
            <pc:docMk/>
            <pc:sldMk cId="14233017" sldId="4901"/>
            <ac:spMk id="4" creationId="{D53A1A9A-EDA3-C227-EC63-6BBBC04AEBE7}"/>
          </ac:spMkLst>
        </pc:spChg>
        <pc:spChg chg="add del mod ord">
          <ac:chgData name="Sussann Nasr" userId="97f28fd0-140b-434d-95e6-094c6873cbda" providerId="ADAL" clId="{18F22C60-B459-4B9D-AE0B-DCF264E76072}" dt="2024-02-26T11:20:38.999" v="3089" actId="700"/>
          <ac:spMkLst>
            <pc:docMk/>
            <pc:sldMk cId="14233017" sldId="4901"/>
            <ac:spMk id="5" creationId="{20105A63-4E25-B65F-1661-824195319423}"/>
          </ac:spMkLst>
        </pc:spChg>
        <pc:picChg chg="add mod">
          <ac:chgData name="Sussann Nasr" userId="97f28fd0-140b-434d-95e6-094c6873cbda" providerId="ADAL" clId="{18F22C60-B459-4B9D-AE0B-DCF264E76072}" dt="2024-02-26T11:19:32.545" v="3083" actId="931"/>
          <ac:picMkLst>
            <pc:docMk/>
            <pc:sldMk cId="14233017" sldId="4901"/>
            <ac:picMk id="7" creationId="{E0076990-C299-7936-290D-B4A09B12C4E1}"/>
          </ac:picMkLst>
        </pc:picChg>
        <pc:picChg chg="add mod ord">
          <ac:chgData name="Sussann Nasr" userId="97f28fd0-140b-434d-95e6-094c6873cbda" providerId="ADAL" clId="{18F22C60-B459-4B9D-AE0B-DCF264E76072}" dt="2024-02-26T11:20:38.999" v="3089" actId="700"/>
          <ac:picMkLst>
            <pc:docMk/>
            <pc:sldMk cId="14233017" sldId="4901"/>
            <ac:picMk id="9" creationId="{C7677770-272C-E118-94C8-309BECB993F5}"/>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image" Target="../media/image27.jpg"/><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SNasr\AppData\Roaming\Microsoft\Excel\Book1%20(version%201).xlsb"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lang="en-US" sz="1600" b="1" dirty="0"/>
              <a:t>Children who received SMC / </a:t>
            </a:r>
            <a:r>
              <a:rPr lang="fr-FR" sz="1600" b="1" dirty="0">
                <a:effectLst/>
              </a:rPr>
              <a:t>Enfants ayant reçu un CPS</a:t>
            </a:r>
          </a:p>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endParaRPr lang="en-US" dirty="0"/>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endParaRPr lang="en-US"/>
        </a:p>
      </c:txPr>
    </c:title>
    <c:autoTitleDeleted val="0"/>
    <c:plotArea>
      <c:layout/>
      <c:areaChart>
        <c:grouping val="stacked"/>
        <c:varyColors val="0"/>
        <c:ser>
          <c:idx val="0"/>
          <c:order val="0"/>
          <c:tx>
            <c:strRef>
              <c:f>Sheet1!$B$8</c:f>
              <c:strCache>
                <c:ptCount val="1"/>
                <c:pt idx="0">
                  <c:v>Children who received SMC</c:v>
                </c:pt>
              </c:strCache>
            </c:strRef>
          </c:tx>
          <c:spPr>
            <a:blipFill>
              <a:blip xmlns:r="http://schemas.openxmlformats.org/officeDocument/2006/relationships" r:embed="rId3"/>
              <a:stretch>
                <a:fillRect/>
              </a:stretch>
            </a:blipFill>
            <a:ln>
              <a:noFill/>
            </a:ln>
            <a:effectLst/>
          </c:spPr>
          <c:cat>
            <c:numRef>
              <c:f>Sheet1!$A$9:$A$14</c:f>
              <c:numCache>
                <c:formatCode>General</c:formatCode>
                <c:ptCount val="6"/>
                <c:pt idx="0">
                  <c:v>2017</c:v>
                </c:pt>
                <c:pt idx="1">
                  <c:v>2018</c:v>
                </c:pt>
                <c:pt idx="2">
                  <c:v>2019</c:v>
                </c:pt>
                <c:pt idx="3">
                  <c:v>2020</c:v>
                </c:pt>
                <c:pt idx="4">
                  <c:v>2021</c:v>
                </c:pt>
                <c:pt idx="5">
                  <c:v>2022</c:v>
                </c:pt>
              </c:numCache>
            </c:numRef>
          </c:cat>
          <c:val>
            <c:numRef>
              <c:f>Sheet1!$B$9:$B$14</c:f>
              <c:numCache>
                <c:formatCode>General</c:formatCode>
                <c:ptCount val="6"/>
                <c:pt idx="0">
                  <c:v>5647038</c:v>
                </c:pt>
                <c:pt idx="1">
                  <c:v>10672227</c:v>
                </c:pt>
                <c:pt idx="2">
                  <c:v>14693040</c:v>
                </c:pt>
                <c:pt idx="3">
                  <c:v>26683289</c:v>
                </c:pt>
                <c:pt idx="4">
                  <c:v>34450468</c:v>
                </c:pt>
                <c:pt idx="5">
                  <c:v>37103714</c:v>
                </c:pt>
              </c:numCache>
            </c:numRef>
          </c:val>
          <c:extLst>
            <c:ext xmlns:c16="http://schemas.microsoft.com/office/drawing/2014/chart" uri="{C3380CC4-5D6E-409C-BE32-E72D297353CC}">
              <c16:uniqueId val="{00000000-65D9-4197-832C-191C697549F9}"/>
            </c:ext>
          </c:extLst>
        </c:ser>
        <c:dLbls>
          <c:showLegendKey val="0"/>
          <c:showVal val="0"/>
          <c:showCatName val="0"/>
          <c:showSerName val="0"/>
          <c:showPercent val="0"/>
          <c:showBubbleSize val="0"/>
        </c:dLbls>
        <c:axId val="1121837792"/>
        <c:axId val="1121838512"/>
      </c:areaChart>
      <c:catAx>
        <c:axId val="112183779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21838512"/>
        <c:crosses val="autoZero"/>
        <c:auto val="1"/>
        <c:lblAlgn val="ctr"/>
        <c:lblOffset val="100"/>
        <c:noMultiLvlLbl val="0"/>
      </c:catAx>
      <c:valAx>
        <c:axId val="11218385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21837792"/>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dirty="0"/>
              <a:t>GF support to SMC (USD)</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Sheet1!$B$3</c:f>
              <c:strCache>
                <c:ptCount val="1"/>
                <c:pt idx="0">
                  <c:v>US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c:spPr>
          <c:invertIfNegative val="0"/>
          <c:cat>
            <c:strRef>
              <c:f>Sheet1!$A$4:$A$6</c:f>
              <c:strCache>
                <c:ptCount val="3"/>
                <c:pt idx="0">
                  <c:v>GC5</c:v>
                </c:pt>
                <c:pt idx="1">
                  <c:v>GC6</c:v>
                </c:pt>
                <c:pt idx="2">
                  <c:v>GC7 (to date)</c:v>
                </c:pt>
              </c:strCache>
            </c:strRef>
          </c:cat>
          <c:val>
            <c:numRef>
              <c:f>Sheet1!$B$4:$B$6</c:f>
              <c:numCache>
                <c:formatCode>#,##0</c:formatCode>
                <c:ptCount val="3"/>
                <c:pt idx="0">
                  <c:v>112641546</c:v>
                </c:pt>
                <c:pt idx="1">
                  <c:v>244409757</c:v>
                </c:pt>
                <c:pt idx="2">
                  <c:v>220120210</c:v>
                </c:pt>
              </c:numCache>
            </c:numRef>
          </c:val>
          <c:extLst>
            <c:ext xmlns:c16="http://schemas.microsoft.com/office/drawing/2014/chart" uri="{C3380CC4-5D6E-409C-BE32-E72D297353CC}">
              <c16:uniqueId val="{00000000-4163-4F6D-AFFD-2B917889CE90}"/>
            </c:ext>
          </c:extLst>
        </c:ser>
        <c:dLbls>
          <c:showLegendKey val="0"/>
          <c:showVal val="0"/>
          <c:showCatName val="0"/>
          <c:showSerName val="0"/>
          <c:showPercent val="0"/>
          <c:showBubbleSize val="0"/>
        </c:dLbls>
        <c:gapWidth val="100"/>
        <c:overlap val="-24"/>
        <c:axId val="339137912"/>
        <c:axId val="1113234416"/>
      </c:barChart>
      <c:catAx>
        <c:axId val="33913791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113234416"/>
        <c:crosses val="autoZero"/>
        <c:auto val="1"/>
        <c:lblAlgn val="ctr"/>
        <c:lblOffset val="100"/>
        <c:noMultiLvlLbl val="0"/>
      </c:catAx>
      <c:valAx>
        <c:axId val="1113234416"/>
        <c:scaling>
          <c:orientation val="minMax"/>
        </c:scaling>
        <c:delete val="0"/>
        <c:axPos val="l"/>
        <c:majorGridlines>
          <c:spPr>
            <a:ln w="9525" cap="flat" cmpd="sng" algn="ctr">
              <a:solidFill>
                <a:schemeClr val="tx2">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391379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2">
  <a:schemeClr val="accent2"/>
</cs:colorStyle>
</file>

<file path=ppt/charts/colors2.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B25B0-38AD-4DCC-B5CD-BFC49102A9DA}" type="datetimeFigureOut">
              <a:rPr lang="en-GB" smtClean="0"/>
              <a:t>26/02/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31254-3E2A-413C-B32A-FCE3FE6A85CA}" type="slidenum">
              <a:rPr lang="en-GB" smtClean="0"/>
              <a:t>‹#›</a:t>
            </a:fld>
            <a:endParaRPr lang="en-GB" dirty="0"/>
          </a:p>
        </p:txBody>
      </p:sp>
    </p:spTree>
    <p:extLst>
      <p:ext uri="{BB962C8B-B14F-4D97-AF65-F5344CB8AC3E}">
        <p14:creationId xmlns:p14="http://schemas.microsoft.com/office/powerpoint/2010/main" val="4218880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svg"/></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5.png"/><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22.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2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5.png"/><Relationship Id="rId4" Type="http://schemas.openxmlformats.org/officeDocument/2006/relationships/image" Target="../media/image7.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5.png"/><Relationship Id="rId4" Type="http://schemas.openxmlformats.org/officeDocument/2006/relationships/image" Target="../media/image9.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2.png"/><Relationship Id="rId4" Type="http://schemas.openxmlformats.org/officeDocument/2006/relationships/image" Target="../media/image11.svg"/></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14.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6.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18.svg"/></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2.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3.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7.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8.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9.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svg"/></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6.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4.svg"/></Relationships>
</file>

<file path=ppt/slideLayouts/_rels/slideLayout78.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5.png"/><Relationship Id="rId5" Type="http://schemas.openxmlformats.org/officeDocument/2006/relationships/image" Target="../media/image20.svg"/><Relationship Id="rId4" Type="http://schemas.openxmlformats.org/officeDocument/2006/relationships/image" Target="../media/image19.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2.xml"/><Relationship Id="rId1" Type="http://schemas.openxmlformats.org/officeDocument/2006/relationships/tags" Target="../tags/tag85.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2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sv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24.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dirty="0"/>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1889160399" name="image" descr="{&quot;templafy&quot;:{&quot;id&quot;:&quot;3b282d96-1f7f-4209-a508-caf09dd046ea&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9457595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dirty="0"/>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section subtitle</a:t>
            </a:r>
            <a:endParaRPr lang="en-US"/>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dirty="0"/>
              <a:t>Add section title</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dirty="0"/>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28576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dirty="0"/>
              <a:t>Add section title</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dirty="0"/>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43108"/>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7447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51284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734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2/26/2024</a:t>
            </a:fld>
            <a:endParaRPr lang="en-US" dirty="0"/>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3220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2375" userDrawn="1">
          <p15:clr>
            <a:srgbClr val="FF96FF"/>
          </p15:clr>
        </p15:guide>
        <p15:guide id="5" orient="horz" pos="2511" userDrawn="1">
          <p15:clr>
            <a:srgbClr val="FF96FF"/>
          </p15:clr>
        </p15:guide>
        <p15:guide id="6" orient="horz" pos="3753" userDrawn="1">
          <p15:clr>
            <a:srgbClr val="FF96FF"/>
          </p15:clr>
        </p15:guide>
        <p15:guide id="7" pos="226" userDrawn="1">
          <p15:clr>
            <a:srgbClr val="FF96FF"/>
          </p15:clr>
        </p15:guide>
        <p15:guide id="8" pos="3771" userDrawn="1">
          <p15:clr>
            <a:srgbClr val="FF96FF"/>
          </p15:clr>
        </p15:guide>
        <p15:guide id="9" pos="3908" userDrawn="1">
          <p15:clr>
            <a:srgbClr val="FF96FF"/>
          </p15:clr>
        </p15:guide>
        <p15:guide id="10" pos="7453" userDrawn="1">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dirty="0"/>
              <a:t>Add statemen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320589391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dirty="0"/>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13173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dirty="0"/>
              <a:t>Add text</a:t>
            </a:r>
            <a:endParaRPr lang="en-US"/>
          </a:p>
          <a:p>
            <a:pPr lvl="1"/>
            <a:r>
              <a:rPr lang="en-US" dirty="0"/>
              <a:t>Second level</a:t>
            </a:r>
            <a:endParaRPr lang="en-US"/>
          </a:p>
          <a:p>
            <a:pPr lvl="2"/>
            <a:r>
              <a:rPr lang="en-US" dirty="0"/>
              <a:t>Third level</a:t>
            </a:r>
            <a:endParaRPr lang="en-US"/>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dirty="0"/>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dirty="0"/>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dirty="0"/>
              <a:t>Add text </a:t>
            </a:r>
            <a:endParaRPr lang="en-US"/>
          </a:p>
          <a:p>
            <a:pPr lvl="1"/>
            <a:r>
              <a:rPr lang="en-US" dirty="0"/>
              <a:t>Second level</a:t>
            </a:r>
            <a:endParaRPr lang="en-US"/>
          </a:p>
          <a:p>
            <a:pPr lvl="2"/>
            <a:r>
              <a:rPr lang="en-US" dirty="0"/>
              <a:t>Third level</a:t>
            </a:r>
            <a:endParaRPr lang="en-US"/>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dirty="0"/>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dirty="0"/>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dirty="0"/>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dirty="0"/>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6484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dirty="0"/>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1321747778" name="image" descr="{&quot;templafy&quot;:{&quot;id&quot;:&quot;94c3332a-4b89-498e-a421-915a30da93d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dirty="0"/>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dirty="0"/>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dirty="0"/>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dirty="0"/>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9896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dirty="0"/>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dirty="0"/>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996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dirty="0"/>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dirty="0"/>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dirty="0"/>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dirty="0"/>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 </a:t>
            </a:r>
            <a:endParaRPr lang="en-US"/>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7718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dirty="0"/>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dirty="0"/>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a:t>
            </a:r>
            <a:endParaRPr lang="en-US"/>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4826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dirty="0"/>
              <a:t>Add image</a:t>
            </a:r>
          </a:p>
        </p:txBody>
      </p:sp>
    </p:spTree>
    <p:extLst>
      <p:ext uri="{BB962C8B-B14F-4D97-AF65-F5344CB8AC3E}">
        <p14:creationId xmlns:p14="http://schemas.microsoft.com/office/powerpoint/2010/main" val="2262229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dirty="0"/>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a:t>
            </a:r>
            <a:endParaRPr lang="en-US"/>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939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dirty="0"/>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a:t>
            </a:r>
            <a:endParaRPr lang="en-US"/>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94027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a:t>
            </a:r>
            <a:endParaRPr lang="en-US"/>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dirty="0"/>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63021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a:t>
            </a:r>
            <a:endParaRPr lang="en-US"/>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dirty="0"/>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dirty="0"/>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9103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dirty="0"/>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dirty="0"/>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First Name Last Name</a:t>
            </a:r>
            <a:endParaRPr lang="en-US"/>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dirty="0"/>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Job Title, Company</a:t>
            </a:r>
          </a:p>
        </p:txBody>
      </p:sp>
    </p:spTree>
    <p:extLst>
      <p:ext uri="{BB962C8B-B14F-4D97-AF65-F5344CB8AC3E}">
        <p14:creationId xmlns:p14="http://schemas.microsoft.com/office/powerpoint/2010/main" val="25184129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dirty="0"/>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103168774" name="image" descr="{&quot;templafy&quot;:{&quot;id&quot;:&quot;93019f05-2348-475b-8cfa-9fa5702f9b91&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First Name Last Name</a:t>
            </a:r>
            <a:endParaRPr lang="en-US"/>
          </a:p>
          <a:p>
            <a:pPr lvl="0"/>
            <a:endParaRPr lang="en-US" dirty="0"/>
          </a:p>
          <a:p>
            <a:pPr lvl="0"/>
            <a:endParaRPr lang="en-US" dirty="0"/>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dirty="0"/>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dirty="0"/>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dirty="0"/>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dirty="0"/>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First Name Last Name</a:t>
            </a:r>
            <a:endParaRPr lang="en-US"/>
          </a:p>
          <a:p>
            <a:pPr lvl="0"/>
            <a:endParaRPr lang="en-US" dirty="0"/>
          </a:p>
          <a:p>
            <a:pPr lvl="0"/>
            <a:endParaRPr lang="en-US" dirty="0"/>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First Name Last Name</a:t>
            </a:r>
            <a:endParaRPr lang="en-US"/>
          </a:p>
          <a:p>
            <a:pPr lvl="0"/>
            <a:endParaRPr lang="en-US" dirty="0"/>
          </a:p>
          <a:p>
            <a:pPr lvl="0"/>
            <a:endParaRPr lang="en-US" dirty="0"/>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First Name Last Name</a:t>
            </a:r>
            <a:endParaRPr lang="en-US"/>
          </a:p>
          <a:p>
            <a:pPr lvl="0"/>
            <a:endParaRPr lang="en-US" dirty="0"/>
          </a:p>
          <a:p>
            <a:pPr lvl="0"/>
            <a:endParaRPr lang="en-US" dirty="0"/>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9194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dirty="0"/>
              <a:t>Add Quote</a:t>
            </a:r>
            <a:endParaRPr lang="en-US"/>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dirty="0"/>
              <a:t>Add Source</a:t>
            </a:r>
            <a:endParaRPr lang="en-US"/>
          </a:p>
          <a:p>
            <a:pPr lvl="1"/>
            <a:endParaRPr lang="en-US" dirty="0"/>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97744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dirty="0"/>
              <a:t>Add Quote</a:t>
            </a:r>
            <a:endParaRPr lang="en-US"/>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dirty="0"/>
              <a:t>Add Source</a:t>
            </a:r>
            <a:endParaRPr lang="en-US"/>
          </a:p>
          <a:p>
            <a:pPr lvl="1"/>
            <a:endParaRPr lang="en-US" dirty="0"/>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spTree>
    <p:extLst>
      <p:ext uri="{BB962C8B-B14F-4D97-AF65-F5344CB8AC3E}">
        <p14:creationId xmlns:p14="http://schemas.microsoft.com/office/powerpoint/2010/main" val="423950235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307002415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dirty="0"/>
              <a:t>Add title</a:t>
            </a:r>
            <a:endParaRPr lang="en-US"/>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829787820" name="image" descr="{&quot;templafy&quot;:{&quot;id&quot;:&quot;47650f6f-6e13-41ce-89da-c2e8f066138c&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5652583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981"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dirty="0"/>
              <a:t>Add title</a:t>
            </a:r>
            <a:endParaRPr lang="en-US"/>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1391745112" name="image" descr="{&quot;templafy&quot;:{&quot;id&quot;:&quot;f7acbf72-47f6-4714-96d8-c6dacaf7205b&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dirty="0"/>
              <a:t>Add title</a:t>
            </a:r>
            <a:endParaRPr lang="en-US"/>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440861549" name="image" descr="{&quot;templafy&quot;:{&quot;id&quot;:&quot;3b294eaa-74c1-4407-9435-78376c61188b&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dirty="0"/>
              <a:t>Add title</a:t>
            </a:r>
            <a:endParaRPr lang="en-US"/>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56812090" name="image" descr="{&quot;templafy&quot;:{&quot;id&quot;:&quot;2fece4a5-9b34-49e1-9a64-501dceb14d41&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dirty="0"/>
              <a:t>Add title</a:t>
            </a:r>
            <a:endParaRPr lang="en-US"/>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950302433" name="image" descr="{&quot;templafy&quot;:{&quot;id&quot;:&quot;aa3c32e9-0ebe-485c-bf40-200cdec6bc6e&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dirty="0"/>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2078925382" name="image" descr="{&quot;templafy&quot;:{&quot;id&quot;:&quot;4d93b17e-b8ad-4382-a0d0-ccd95d43c376&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dirty="0"/>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dirty="0"/>
              <a:t>Add image</a:t>
            </a:r>
          </a:p>
        </p:txBody>
      </p:sp>
      <p:pic>
        <p:nvPicPr>
          <p:cNvPr id="2100563382" name="image" descr="{&quot;templafy&quot;:{&quot;id&quot;:&quot;7581e200-f22f-4a67-9820-9ac639d36647&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0300600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dirty="0"/>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dirty="0"/>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1408200036" name="image" descr="{&quot;templafy&quot;:{&quot;id&quot;:&quot;60831a38-22ff-49a8-ab4d-ae4c230aebe0&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5366868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77"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45201756" name="image" descr="{&quot;templafy&quot;:{&quot;id&quot;:&quot;2c357bbe-7cd0-4c0c-8864-15e0baa4aed7&quot;}}"/>
          <p:cNvPicPr>
            <a:picLocks noChangeAspect="1"/>
          </p:cNvPicPr>
          <p:nvPr/>
        </p:nvPicPr>
        <p:blipFill>
          <a:blip r:embed="rId3"/>
          <a:stretch>
            <a:fillRect/>
          </a:stretch>
        </p:blipFill>
        <p:spPr>
          <a:xfrm>
            <a:off x="358774" y="269875"/>
            <a:ext cx="2253600" cy="773055"/>
          </a:xfrm>
          <a:prstGeom prst="rect">
            <a:avLst/>
          </a:prstGeom>
        </p:spPr>
      </p:pic>
      <p:sp>
        <p:nvSpPr>
          <p:cNvPr id="3" name="TextBox 2">
            <a:extLst>
              <a:ext uri="{FF2B5EF4-FFF2-40B4-BE49-F238E27FC236}">
                <a16:creationId xmlns:a16="http://schemas.microsoft.com/office/drawing/2014/main" id="{F363AEAE-D292-1AE4-F485-CB639A783AF4}"/>
              </a:ext>
            </a:extLst>
          </p:cNvPr>
          <p:cNvSpPr txBox="1"/>
          <p:nvPr userDrawn="1"/>
        </p:nvSpPr>
        <p:spPr>
          <a:xfrm>
            <a:off x="10597897" y="-20767"/>
            <a:ext cx="1524434" cy="307777"/>
          </a:xfrm>
          <a:prstGeom prst="rect">
            <a:avLst/>
          </a:prstGeom>
          <a:noFill/>
        </p:spPr>
        <p:txBody>
          <a:bodyPr wrap="square" rtlCol="0">
            <a:spAutoFit/>
          </a:bodyPr>
          <a:lstStyle/>
          <a:p>
            <a:pPr algn="r"/>
            <a:r>
              <a:rPr lang="en-US" sz="1400" b="1" dirty="0">
                <a:solidFill>
                  <a:srgbClr val="FF0000"/>
                </a:solidFill>
              </a:rPr>
              <a:t>CONFIDENTIAL</a:t>
            </a:r>
          </a:p>
        </p:txBody>
      </p:sp>
    </p:spTree>
    <p:extLst>
      <p:ext uri="{BB962C8B-B14F-4D97-AF65-F5344CB8AC3E}">
        <p14:creationId xmlns:p14="http://schemas.microsoft.com/office/powerpoint/2010/main" val="8875289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7010573" name="image" descr="{&quot;templafy&quot;:{&quot;id&quot;:&quot;276c9b11-6e82-4ce2-b8a7-a29bf3fe23e8&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05096976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43570296" name="image" descr="{&quot;templafy&quot;:{&quot;id&quot;:&quot;3d06c2a1-3889-4828-a4d8-9a2feb3c8319&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0450140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480170033" name="image" descr="{&quot;templafy&quot;:{&quot;id&quot;:&quot;496de890-5287-44a0-9894-015570faa8d9&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49388699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453638245" name="image" descr="{&quot;templafy&quot;:{&quot;id&quot;:&quot;79e3239e-65ca-47f3-8376-503071125fe5&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05145395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4" name="TextBox 3">
            <a:extLst>
              <a:ext uri="{FF2B5EF4-FFF2-40B4-BE49-F238E27FC236}">
                <a16:creationId xmlns:a16="http://schemas.microsoft.com/office/drawing/2014/main" id="{6B855552-664C-B55B-97D8-0BDD4AC41CB7}"/>
              </a:ext>
            </a:extLst>
          </p:cNvPr>
          <p:cNvSpPr txBox="1"/>
          <p:nvPr userDrawn="1"/>
        </p:nvSpPr>
        <p:spPr>
          <a:xfrm>
            <a:off x="10597897" y="-20767"/>
            <a:ext cx="1524434" cy="307777"/>
          </a:xfrm>
          <a:prstGeom prst="rect">
            <a:avLst/>
          </a:prstGeom>
          <a:noFill/>
        </p:spPr>
        <p:txBody>
          <a:bodyPr wrap="square" rtlCol="0">
            <a:spAutoFit/>
          </a:bodyPr>
          <a:lstStyle/>
          <a:p>
            <a:pPr algn="r"/>
            <a:r>
              <a:rPr lang="en-US" sz="1400" b="1" dirty="0">
                <a:solidFill>
                  <a:srgbClr val="FF0000"/>
                </a:solidFill>
              </a:rPr>
              <a:t>CONFIDENTIAL</a:t>
            </a:r>
          </a:p>
        </p:txBody>
      </p:sp>
    </p:spTree>
    <p:extLst>
      <p:ext uri="{BB962C8B-B14F-4D97-AF65-F5344CB8AC3E}">
        <p14:creationId xmlns:p14="http://schemas.microsoft.com/office/powerpoint/2010/main" val="416922828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176203718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9437656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dirty="0"/>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1903867307" name="image" descr="{&quot;templafy&quot;:{&quot;id&quot;:&quot;97d0446e-727e-4cd6-913b-b5d8ae3c6f99&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49519251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92999410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F0F1F9E-D82A-E16C-9B0D-6712CB353E9B}"/>
              </a:ext>
            </a:extLst>
          </p:cNvPr>
          <p:cNvSpPr txBox="1"/>
          <p:nvPr userDrawn="1"/>
        </p:nvSpPr>
        <p:spPr>
          <a:xfrm>
            <a:off x="10597897" y="-20767"/>
            <a:ext cx="1524434" cy="307777"/>
          </a:xfrm>
          <a:prstGeom prst="rect">
            <a:avLst/>
          </a:prstGeom>
          <a:noFill/>
        </p:spPr>
        <p:txBody>
          <a:bodyPr wrap="square" rtlCol="0">
            <a:spAutoFit/>
          </a:bodyPr>
          <a:lstStyle/>
          <a:p>
            <a:pPr algn="r"/>
            <a:r>
              <a:rPr lang="en-US" sz="1400" b="1" dirty="0">
                <a:solidFill>
                  <a:srgbClr val="FF0000"/>
                </a:solidFill>
              </a:rPr>
              <a:t>CONFIDENTIAL</a:t>
            </a:r>
          </a:p>
        </p:txBody>
      </p:sp>
    </p:spTree>
    <p:extLst>
      <p:ext uri="{BB962C8B-B14F-4D97-AF65-F5344CB8AC3E}">
        <p14:creationId xmlns:p14="http://schemas.microsoft.com/office/powerpoint/2010/main" val="54693743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774548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906782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494337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25350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2/26/2024</a:t>
            </a:fld>
            <a:endParaRPr lang="en-US" dirty="0"/>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412207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36090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28674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dirty="0"/>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section subtitle</a:t>
            </a:r>
            <a:endParaRPr lang="en-US"/>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253970824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dirty="0"/>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dirty="0"/>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dirty="0"/>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64268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09263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dirty="0"/>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015991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dirty="0"/>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dirty="0"/>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735447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dirty="0"/>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33358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dirty="0"/>
              <a:t>Add image</a:t>
            </a:r>
          </a:p>
        </p:txBody>
      </p:sp>
    </p:spTree>
    <p:extLst>
      <p:ext uri="{BB962C8B-B14F-4D97-AF65-F5344CB8AC3E}">
        <p14:creationId xmlns:p14="http://schemas.microsoft.com/office/powerpoint/2010/main" val="28943142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dirty="0"/>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69699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dirty="0"/>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2344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dirty="0"/>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1112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dirty="0"/>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dirty="0"/>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045148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dirty="0"/>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section subtitle</a:t>
            </a:r>
            <a:endParaRPr lang="en-US"/>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dirty="0"/>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dirty="0"/>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355698210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p>
          <a:p>
            <a:r>
              <a:rPr lang="en-US" dirty="0"/>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510277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868149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09356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18216008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Tree>
    <p:extLst>
      <p:ext uri="{BB962C8B-B14F-4D97-AF65-F5344CB8AC3E}">
        <p14:creationId xmlns:p14="http://schemas.microsoft.com/office/powerpoint/2010/main" val="348079829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1776950698" name="image" descr="{&quot;templafy&quot;:{&quot;id&quot;:&quot;bb1c7b3a-e3ce-4cb8-8c94-0b5c69e4a728&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2189320"/>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71310954" name="image" descr="{&quot;templafy&quot;:{&quot;id&quot;:&quot;9d77214d-8625-46b3-a77e-93327b81b706&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25610416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578758720" name="image" descr="{&quot;templafy&quot;:{&quot;id&quot;:&quot;e91a0391-72a9-4a0b-aaea-1b5b827bde85&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3084055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1266621468" name="image" descr="{&quot;templafy&quot;:{&quot;id&quot;:&quot;dc7f8033-c823-4685-8e29-380fbcef43c2&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84873899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dirty="0"/>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section subtitle</a:t>
            </a:r>
            <a:endParaRPr lang="en-US"/>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dirty="0"/>
          </a:p>
          <a:p>
            <a:endParaRPr lang="en-US" sz="800" dirty="0"/>
          </a:p>
        </p:txBody>
      </p:sp>
      <p:pic>
        <p:nvPicPr>
          <p:cNvPr id="776854158" name="image" descr="{&quot;templafy&quot;:{&quot;id&quot;:&quot;050889e5-1c40-4323-844e-bd5faa56909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5195327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dirty="0"/>
              <a:t>Add image</a:t>
            </a:r>
          </a:p>
        </p:txBody>
      </p:sp>
      <p:pic>
        <p:nvPicPr>
          <p:cNvPr id="1531418592" name="image" descr="{&quot;templafy&quot;:{&quot;id&quot;:&quot;ea485093-b117-496b-b670-63a4eb38e108&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716125086"/>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dirty="0"/>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89833393" name="image" descr="{&quot;templafy&quot;:{&quot;id&quot;:&quot;4a1c542f-9870-4dc8-bb7c-dbe61856102c&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31528676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dirty="0"/>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dirty="0"/>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section subtitle</a:t>
            </a:r>
            <a:endParaRPr lang="en-US"/>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theme" Target="../theme/theme2.xml"/><Relationship Id="rId47" Type="http://schemas.openxmlformats.org/officeDocument/2006/relationships/oleObject" Target="../embeddings/oleObject1.bin"/><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tags" Target="../tags/tag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tags" Target="../tags/tag47.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image" Target="../media/image1.png"/><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tags" Target="../tags/tag46.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tags" Target="../tags/tag45.xml"/><Relationship Id="rId48" Type="http://schemas.openxmlformats.org/officeDocument/2006/relationships/image" Target="../media/image25.emf"/><Relationship Id="rId8"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3"/>
            </p:custDataLst>
          </p:nvPr>
        </p:nvSpPr>
        <p:spPr>
          <a:xfrm>
            <a:off x="360000" y="270001"/>
            <a:ext cx="11472000" cy="939674"/>
          </a:xfrm>
          <a:prstGeom prst="rect">
            <a:avLst/>
          </a:prstGeom>
        </p:spPr>
        <p:txBody>
          <a:bodyPr vert="horz" lIns="0" tIns="0" rIns="0" bIns="0" rtlCol="0" anchor="t" anchorCtr="0">
            <a:noAutofit/>
          </a:bodyPr>
          <a:lstStyle/>
          <a:p>
            <a:r>
              <a:rPr lang="en-US" dirty="0"/>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4"/>
            </p:custDataLst>
          </p:nvPr>
        </p:nvSpPr>
        <p:spPr>
          <a:xfrm>
            <a:off x="360000" y="1800001"/>
            <a:ext cx="11472000" cy="4157999"/>
          </a:xfrm>
          <a:prstGeom prst="rect">
            <a:avLst/>
          </a:prstGeom>
        </p:spPr>
        <p:txBody>
          <a:bodyPr vert="horz" lIns="0" tIns="0" rIns="0" bIns="0" rtlCol="0">
            <a:noAutofit/>
          </a:bodyPr>
          <a:lstStyle/>
          <a:p>
            <a:pPr lvl="0"/>
            <a:r>
              <a:rPr lang="en-US" dirty="0"/>
              <a:t>Click to edit Master text styles</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dirty="0"/>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dirty="0"/>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5"/>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pic>
        <p:nvPicPr>
          <p:cNvPr id="890795588" name="image" descr="{&quot;templafy&quot;:{&quot;id&quot;:&quot;f0bc6c0f-c9f3-4d85-a319-f8ec4ea08148&quot;}}"/>
          <p:cNvPicPr>
            <a:picLocks noChangeAspect="1"/>
          </p:cNvPicPr>
          <p:nvPr/>
        </p:nvPicPr>
        <p:blipFill>
          <a:blip r:embed="rId46"/>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119407716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700" r:id="rId3"/>
    <p:sldLayoutId id="2147483661" r:id="rId4"/>
    <p:sldLayoutId id="2147483662" r:id="rId5"/>
    <p:sldLayoutId id="2147483651" r:id="rId6"/>
    <p:sldLayoutId id="2147483701" r:id="rId7"/>
    <p:sldLayoutId id="2147483665" r:id="rId8"/>
    <p:sldLayoutId id="2147483702" r:id="rId9"/>
    <p:sldLayoutId id="2147483666" r:id="rId10"/>
    <p:sldLayoutId id="2147483704" r:id="rId11"/>
    <p:sldLayoutId id="2147483694" r:id="rId12"/>
    <p:sldLayoutId id="2147483693" r:id="rId13"/>
    <p:sldLayoutId id="2147483686" r:id="rId14"/>
    <p:sldLayoutId id="2147483667" r:id="rId15"/>
    <p:sldLayoutId id="2147483691" r:id="rId16"/>
    <p:sldLayoutId id="2147483668" r:id="rId17"/>
    <p:sldLayoutId id="2147483695" r:id="rId18"/>
    <p:sldLayoutId id="2147483687" r:id="rId19"/>
    <p:sldLayoutId id="2147483690" r:id="rId20"/>
    <p:sldLayoutId id="2147483685" r:id="rId21"/>
    <p:sldLayoutId id="2147483670" r:id="rId22"/>
    <p:sldLayoutId id="2147483669" r:id="rId23"/>
    <p:sldLayoutId id="2147483671" r:id="rId24"/>
    <p:sldLayoutId id="2147483672" r:id="rId25"/>
    <p:sldLayoutId id="2147483673" r:id="rId26"/>
    <p:sldLayoutId id="2147483674" r:id="rId27"/>
    <p:sldLayoutId id="2147483675" r:id="rId28"/>
    <p:sldLayoutId id="2147483676" r:id="rId29"/>
    <p:sldLayoutId id="2147483689" r:id="rId30"/>
    <p:sldLayoutId id="2147483677" r:id="rId31"/>
    <p:sldLayoutId id="2147483678" r:id="rId32"/>
    <p:sldLayoutId id="2147483698" r:id="rId33"/>
    <p:sldLayoutId id="2147483699" r:id="rId34"/>
    <p:sldLayoutId id="2147483680" r:id="rId35"/>
    <p:sldLayoutId id="2147483681" r:id="rId36"/>
    <p:sldLayoutId id="2147483703" r:id="rId37"/>
    <p:sldLayoutId id="2147483688" r:id="rId38"/>
    <p:sldLayoutId id="2147483679" r:id="rId39"/>
    <p:sldLayoutId id="2147483663" r:id="rId40"/>
    <p:sldLayoutId id="2147483664" r:id="rId41"/>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9229E4-6413-229F-74EF-F36E0CB53B94}"/>
              </a:ext>
            </a:extLst>
          </p:cNvPr>
          <p:cNvGraphicFramePr>
            <a:graphicFrameLocks noChangeAspect="1"/>
          </p:cNvGraphicFramePr>
          <p:nvPr userDrawn="1">
            <p:custDataLst>
              <p:tags r:id="rId43"/>
            </p:custDataLst>
            <p:extLst>
              <p:ext uri="{D42A27DB-BD31-4B8C-83A1-F6EECF244321}">
                <p14:modId xmlns:p14="http://schemas.microsoft.com/office/powerpoint/2010/main" val="32697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06" imgH="306" progId="TCLayout.ActiveDocument.1">
                  <p:embed/>
                </p:oleObj>
              </mc:Choice>
              <mc:Fallback>
                <p:oleObj name="think-cell Slide" r:id="rId47" imgW="306" imgH="306" progId="TCLayout.ActiveDocument.1">
                  <p:embed/>
                  <p:pic>
                    <p:nvPicPr>
                      <p:cNvPr id="7" name="Object 6" hidden="1">
                        <a:extLst>
                          <a:ext uri="{FF2B5EF4-FFF2-40B4-BE49-F238E27FC236}">
                            <a16:creationId xmlns:a16="http://schemas.microsoft.com/office/drawing/2014/main" id="{C69229E4-6413-229F-74EF-F36E0CB53B94}"/>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4"/>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dirty="0"/>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dirty="0"/>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6"/>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srgbClr val="FFFFFF"/>
              </a:solidFill>
            </a:endParaRPr>
          </a:p>
        </p:txBody>
      </p:sp>
      <p:pic>
        <p:nvPicPr>
          <p:cNvPr id="271935117" name="image" descr="{&quot;templafy&quot;:{&quot;id&quot;:&quot;fd166e03-1954-4c59-aaba-597746d129de&quot;}}"/>
          <p:cNvPicPr>
            <a:picLocks noChangeAspect="1"/>
          </p:cNvPicPr>
          <p:nvPr/>
        </p:nvPicPr>
        <p:blipFill>
          <a:blip r:embed="rId49"/>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20786504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7.xml"/><Relationship Id="rId1" Type="http://schemas.openxmlformats.org/officeDocument/2006/relationships/customXml" Target="../../customXml/item6.xml"/><Relationship Id="rId4" Type="http://schemas.openxmlformats.org/officeDocument/2006/relationships/image" Target="../media/image26.jpeg"/></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6E622-B484-4C5E-9FA1-B84DACEEB997}"/>
              </a:ext>
            </a:extLst>
          </p:cNvPr>
          <p:cNvSpPr>
            <a:spLocks noGrp="1"/>
          </p:cNvSpPr>
          <p:nvPr>
            <p:ph type="ctrTitle"/>
          </p:nvPr>
        </p:nvSpPr>
        <p:spPr>
          <a:xfrm>
            <a:off x="805089" y="1699418"/>
            <a:ext cx="5693683" cy="3459163"/>
          </a:xfrm>
        </p:spPr>
        <p:txBody>
          <a:bodyPr/>
          <a:lstStyle/>
          <a:p>
            <a:r>
              <a:rPr lang="en-US" sz="3600" dirty="0"/>
              <a:t>SMC Alliance Annual Meeting: Global Fund Updates</a:t>
            </a:r>
            <a:br>
              <a:rPr lang="en-US" sz="3600" dirty="0"/>
            </a:br>
            <a:r>
              <a:rPr lang="fr-FR" sz="3600" dirty="0">
                <a:effectLst/>
                <a:latin typeface="Segoe UI Web (West European)"/>
              </a:rPr>
              <a:t>Réunion annuelle de l’Alliance CPS : Mises à jour du Fonds mondial</a:t>
            </a:r>
            <a:br>
              <a:rPr lang="fr-FR" dirty="0">
                <a:effectLst/>
                <a:latin typeface="Segoe UI Web (West European)"/>
              </a:rPr>
            </a:br>
            <a:endParaRPr lang="en-US" dirty="0"/>
          </a:p>
        </p:txBody>
      </p:sp>
      <p:sp>
        <p:nvSpPr>
          <p:cNvPr id="3" name="Text Placeholder 2">
            <a:extLst>
              <a:ext uri="{FF2B5EF4-FFF2-40B4-BE49-F238E27FC236}">
                <a16:creationId xmlns:a16="http://schemas.microsoft.com/office/drawing/2014/main" id="{F46AFC8C-067F-4462-89BD-CA42D043C081}"/>
              </a:ext>
            </a:extLst>
          </p:cNvPr>
          <p:cNvSpPr>
            <a:spLocks noGrp="1"/>
          </p:cNvSpPr>
          <p:nvPr>
            <p:ph type="body" sz="quarter" idx="11"/>
          </p:nvPr>
        </p:nvSpPr>
        <p:spPr>
          <a:xfrm>
            <a:off x="805089" y="4788467"/>
            <a:ext cx="1970769" cy="1321504"/>
          </a:xfrm>
        </p:spPr>
        <p:txBody>
          <a:bodyPr/>
          <a:lstStyle/>
          <a:p>
            <a:r>
              <a:rPr lang="en-US" dirty="0"/>
              <a:t>2024</a:t>
            </a:r>
          </a:p>
        </p:txBody>
      </p:sp>
      <p:pic>
        <p:nvPicPr>
          <p:cNvPr id="5" name="Picture 4" descr="A child sitting on a stone block&#10;&#10;Description automatically generated">
            <a:extLst>
              <a:ext uri="{FF2B5EF4-FFF2-40B4-BE49-F238E27FC236}">
                <a16:creationId xmlns:a16="http://schemas.microsoft.com/office/drawing/2014/main" id="{B8B34679-316B-E277-40CE-BF272C7BC1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14285" y="0"/>
            <a:ext cx="4577715" cy="6858000"/>
          </a:xfrm>
          <a:prstGeom prst="rect">
            <a:avLst/>
          </a:prstGeom>
        </p:spPr>
      </p:pic>
    </p:spTree>
    <p:custDataLst>
      <p:custData r:id="rId1"/>
      <p:custData r:id="rId2"/>
    </p:custDataLst>
    <p:extLst>
      <p:ext uri="{BB962C8B-B14F-4D97-AF65-F5344CB8AC3E}">
        <p14:creationId xmlns:p14="http://schemas.microsoft.com/office/powerpoint/2010/main" val="2585336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3D586C1-1D25-7105-B10A-A801AFEF1FFC}"/>
              </a:ext>
            </a:extLst>
          </p:cNvPr>
          <p:cNvSpPr>
            <a:spLocks noGrp="1"/>
          </p:cNvSpPr>
          <p:nvPr>
            <p:ph type="sldNum" sz="quarter" idx="12"/>
          </p:nvPr>
        </p:nvSpPr>
        <p:spPr>
          <a:xfrm>
            <a:off x="10934700" y="6203950"/>
            <a:ext cx="897300" cy="365125"/>
          </a:xfrm>
        </p:spPr>
        <p:txBody>
          <a:bodyPr anchor="b">
            <a:normAutofit/>
          </a:bodyPr>
          <a:lstStyle/>
          <a:p>
            <a:pPr>
              <a:spcAft>
                <a:spcPts val="600"/>
              </a:spcAft>
            </a:pPr>
            <a:fld id="{9E2BE927-25C7-4379-86F1-C17ED9D2A7F2}" type="slidenum">
              <a:rPr lang="en-US" smtClean="0"/>
              <a:pPr>
                <a:spcAft>
                  <a:spcPts val="600"/>
                </a:spcAft>
              </a:pPr>
              <a:t>2</a:t>
            </a:fld>
            <a:endParaRPr lang="en-US" dirty="0"/>
          </a:p>
        </p:txBody>
      </p:sp>
      <p:sp>
        <p:nvSpPr>
          <p:cNvPr id="14" name="Title 4">
            <a:extLst>
              <a:ext uri="{FF2B5EF4-FFF2-40B4-BE49-F238E27FC236}">
                <a16:creationId xmlns:a16="http://schemas.microsoft.com/office/drawing/2014/main" id="{E04F6A9D-AD96-D611-8BE8-1FE039534487}"/>
              </a:ext>
            </a:extLst>
          </p:cNvPr>
          <p:cNvSpPr>
            <a:spLocks noGrp="1"/>
          </p:cNvSpPr>
          <p:nvPr>
            <p:ph type="title"/>
          </p:nvPr>
        </p:nvSpPr>
        <p:spPr>
          <a:xfrm>
            <a:off x="360000" y="270001"/>
            <a:ext cx="11471638" cy="468000"/>
          </a:xfrm>
        </p:spPr>
        <p:txBody>
          <a:bodyPr/>
          <a:lstStyle/>
          <a:p>
            <a:r>
              <a:rPr lang="en-US" dirty="0"/>
              <a:t>GF support for SMC to date</a:t>
            </a:r>
            <a:br>
              <a:rPr lang="en-US" dirty="0"/>
            </a:br>
            <a:r>
              <a:rPr lang="fr-FR" dirty="0">
                <a:effectLst/>
                <a:latin typeface="Segoe UI Web (West European)"/>
              </a:rPr>
              <a:t>Prise en charge de FM pour CPS à ce jour</a:t>
            </a:r>
            <a:br>
              <a:rPr lang="fr-FR" dirty="0">
                <a:effectLst/>
                <a:latin typeface="Segoe UI Web (West European)"/>
              </a:rPr>
            </a:br>
            <a:endParaRPr lang="en-US" dirty="0"/>
          </a:p>
        </p:txBody>
      </p:sp>
      <p:sp>
        <p:nvSpPr>
          <p:cNvPr id="16" name="Text Placeholder 5">
            <a:extLst>
              <a:ext uri="{FF2B5EF4-FFF2-40B4-BE49-F238E27FC236}">
                <a16:creationId xmlns:a16="http://schemas.microsoft.com/office/drawing/2014/main" id="{EE09CC5F-B639-967F-E6E0-49E3C2F7DD94}"/>
              </a:ext>
            </a:extLst>
          </p:cNvPr>
          <p:cNvSpPr>
            <a:spLocks noGrp="1"/>
          </p:cNvSpPr>
          <p:nvPr>
            <p:ph type="body" sz="quarter" idx="13"/>
          </p:nvPr>
        </p:nvSpPr>
        <p:spPr>
          <a:xfrm>
            <a:off x="359639" y="1223640"/>
            <a:ext cx="11471999" cy="468000"/>
          </a:xfrm>
        </p:spPr>
        <p:txBody>
          <a:bodyPr/>
          <a:lstStyle/>
          <a:p>
            <a:pPr>
              <a:lnSpc>
                <a:spcPct val="100000"/>
              </a:lnSpc>
            </a:pPr>
            <a:r>
              <a:rPr lang="en-US" sz="1600" b="1" i="1" dirty="0"/>
              <a:t>Note: Not all countries providing SMC have gone through grant-making for GC7 </a:t>
            </a:r>
          </a:p>
          <a:p>
            <a:pPr>
              <a:lnSpc>
                <a:spcPct val="100000"/>
              </a:lnSpc>
            </a:pPr>
            <a:r>
              <a:rPr lang="en-US" sz="1600" i="1" dirty="0"/>
              <a:t>N</a:t>
            </a:r>
            <a:r>
              <a:rPr lang="fr-FR" sz="1600" i="1" dirty="0">
                <a:effectLst/>
              </a:rPr>
              <a:t>oter que tous les pays qui fournissent des CPS n’ont pas accordé de subventions pour le GC7</a:t>
            </a:r>
          </a:p>
          <a:p>
            <a:endParaRPr lang="en-US" sz="2000" i="1" dirty="0"/>
          </a:p>
        </p:txBody>
      </p:sp>
      <p:graphicFrame>
        <p:nvGraphicFramePr>
          <p:cNvPr id="8" name="Content Placeholder 7">
            <a:extLst>
              <a:ext uri="{FF2B5EF4-FFF2-40B4-BE49-F238E27FC236}">
                <a16:creationId xmlns:a16="http://schemas.microsoft.com/office/drawing/2014/main" id="{E46A07A6-B95A-487D-3094-BA798433BBBA}"/>
              </a:ext>
            </a:extLst>
          </p:cNvPr>
          <p:cNvGraphicFramePr>
            <a:graphicFrameLocks noGrp="1"/>
          </p:cNvGraphicFramePr>
          <p:nvPr>
            <p:ph sz="quarter" idx="17"/>
            <p:extLst>
              <p:ext uri="{D42A27DB-BD31-4B8C-83A1-F6EECF244321}">
                <p14:modId xmlns:p14="http://schemas.microsoft.com/office/powerpoint/2010/main" val="619473523"/>
              </p:ext>
            </p:extLst>
          </p:nvPr>
        </p:nvGraphicFramePr>
        <p:xfrm>
          <a:off x="6203950" y="1947863"/>
          <a:ext cx="5627688" cy="400208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923829F7-2E91-E4A8-42F1-E18E6A1BA5C6}"/>
              </a:ext>
            </a:extLst>
          </p:cNvPr>
          <p:cNvGraphicFramePr>
            <a:graphicFrameLocks/>
          </p:cNvGraphicFramePr>
          <p:nvPr>
            <p:extLst>
              <p:ext uri="{D42A27DB-BD31-4B8C-83A1-F6EECF244321}">
                <p14:modId xmlns:p14="http://schemas.microsoft.com/office/powerpoint/2010/main" val="4027933271"/>
              </p:ext>
            </p:extLst>
          </p:nvPr>
        </p:nvGraphicFramePr>
        <p:xfrm>
          <a:off x="359639" y="2057400"/>
          <a:ext cx="5628411" cy="3642360"/>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31943C4B-43DF-E5EA-D979-9DAAA3251974}"/>
              </a:ext>
            </a:extLst>
          </p:cNvPr>
          <p:cNvSpPr/>
          <p:nvPr/>
        </p:nvSpPr>
        <p:spPr>
          <a:xfrm>
            <a:off x="4724400" y="3342640"/>
            <a:ext cx="751840" cy="1991360"/>
          </a:xfrm>
          <a:prstGeom prst="rect">
            <a:avLst/>
          </a:prstGeom>
          <a:solidFill>
            <a:schemeClr val="accent6">
              <a:lumMod val="40000"/>
              <a:lumOff val="60000"/>
            </a:schemeClr>
          </a:solidFill>
          <a:ln>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5589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0573A4-72FE-0591-3875-8EE7F893CD03}"/>
              </a:ext>
            </a:extLst>
          </p:cNvPr>
          <p:cNvSpPr>
            <a:spLocks noGrp="1"/>
          </p:cNvSpPr>
          <p:nvPr>
            <p:ph type="sldNum" sz="quarter" idx="12"/>
          </p:nvPr>
        </p:nvSpPr>
        <p:spPr/>
        <p:txBody>
          <a:bodyPr/>
          <a:lstStyle/>
          <a:p>
            <a:fld id="{9E2BE927-25C7-4379-86F1-C17ED9D2A7F2}" type="slidenum">
              <a:rPr lang="en-US" smtClean="0"/>
              <a:t>3</a:t>
            </a:fld>
            <a:endParaRPr lang="en-US" dirty="0"/>
          </a:p>
        </p:txBody>
      </p:sp>
      <p:sp>
        <p:nvSpPr>
          <p:cNvPr id="4" name="Content Placeholder 3">
            <a:extLst>
              <a:ext uri="{FF2B5EF4-FFF2-40B4-BE49-F238E27FC236}">
                <a16:creationId xmlns:a16="http://schemas.microsoft.com/office/drawing/2014/main" id="{77B95FEA-F34F-8444-B44B-E9BBA6FB0839}"/>
              </a:ext>
            </a:extLst>
          </p:cNvPr>
          <p:cNvSpPr>
            <a:spLocks noGrp="1"/>
          </p:cNvSpPr>
          <p:nvPr>
            <p:ph sz="quarter" idx="17"/>
          </p:nvPr>
        </p:nvSpPr>
        <p:spPr>
          <a:xfrm>
            <a:off x="6095638" y="1610781"/>
            <a:ext cx="5907176" cy="4002087"/>
          </a:xfrm>
          <a:solidFill>
            <a:schemeClr val="bg1"/>
          </a:solidFill>
        </p:spPr>
        <p:txBody>
          <a:bodyPr/>
          <a:lstStyle/>
          <a:p>
            <a:r>
              <a:rPr lang="fr-FR" sz="1800" dirty="0">
                <a:effectLst/>
                <a:latin typeface="Segoe UI Web (West European)"/>
              </a:rPr>
              <a:t>Maintien de l’historique de la couverture </a:t>
            </a:r>
          </a:p>
          <a:p>
            <a:r>
              <a:rPr lang="fr-FR" sz="1800" dirty="0">
                <a:effectLst/>
                <a:latin typeface="Segoe UI Web (West European)"/>
              </a:rPr>
              <a:t>Ajuster le nombre de tours en fonction de la stratification mise à jour </a:t>
            </a:r>
          </a:p>
          <a:p>
            <a:r>
              <a:rPr lang="fr-FR" sz="1800" dirty="0">
                <a:effectLst/>
                <a:latin typeface="Segoe UI Web (West European)"/>
              </a:rPr>
              <a:t>Expansion géographique </a:t>
            </a:r>
          </a:p>
          <a:p>
            <a:r>
              <a:rPr lang="fr-FR" sz="1800" dirty="0">
                <a:effectLst/>
                <a:latin typeface="Segoe UI Web (West European)"/>
              </a:rPr>
              <a:t>Expansion très limitée des groupes d’âge</a:t>
            </a:r>
          </a:p>
          <a:p>
            <a:r>
              <a:rPr lang="fr-FR" sz="1800" dirty="0">
                <a:effectLst/>
                <a:latin typeface="Segoe UI Web (West European)"/>
              </a:rPr>
              <a:t>Ajustements programmatiques: </a:t>
            </a:r>
          </a:p>
          <a:p>
            <a:pPr lvl="2"/>
            <a:r>
              <a:rPr lang="fr-FR" sz="1600" dirty="0">
                <a:effectLst/>
                <a:latin typeface="Segoe UI Web (West European)"/>
              </a:rPr>
              <a:t>Amélioration de la qualité </a:t>
            </a:r>
          </a:p>
          <a:p>
            <a:pPr lvl="2"/>
            <a:r>
              <a:rPr lang="fr-FR" sz="1600" dirty="0">
                <a:effectLst/>
                <a:latin typeface="Segoe UI Web (West European)"/>
              </a:rPr>
              <a:t>Intégration (p. ex. avec la campagne MII, utilisation d’ASC existants, etc.)</a:t>
            </a:r>
          </a:p>
          <a:p>
            <a:pPr lvl="2"/>
            <a:r>
              <a:rPr lang="fr-FR" sz="1600" dirty="0">
                <a:effectLst/>
                <a:latin typeface="Segoe UI Web (West European)"/>
              </a:rPr>
              <a:t>Renforcer la surveillance </a:t>
            </a:r>
          </a:p>
          <a:p>
            <a:pPr marL="180975" lvl="2" indent="0">
              <a:buNone/>
            </a:pPr>
            <a:endParaRPr lang="fr-FR" sz="1600" dirty="0">
              <a:effectLst/>
              <a:latin typeface="Segoe UI Web (West European)"/>
            </a:endParaRPr>
          </a:p>
          <a:p>
            <a:pPr lvl="1"/>
            <a:r>
              <a:rPr lang="fr-FR" sz="1800" dirty="0">
                <a:effectLst/>
                <a:latin typeface="Segoe UI Web (West European)"/>
              </a:rPr>
              <a:t>Les pays accordent également la priorité au renforcement de la qualité et de l’utilisation des données afin de s’assurer que les programmes peuvent effectuer une analyse solide pour cibler les CPS et adapter la mise en œuvre, afin que tous les enfants soient systématiquement touchés.</a:t>
            </a:r>
          </a:p>
          <a:p>
            <a:endParaRPr lang="en-US" dirty="0"/>
          </a:p>
        </p:txBody>
      </p:sp>
      <p:sp>
        <p:nvSpPr>
          <p:cNvPr id="7" name="Content Placeholder 6">
            <a:extLst>
              <a:ext uri="{FF2B5EF4-FFF2-40B4-BE49-F238E27FC236}">
                <a16:creationId xmlns:a16="http://schemas.microsoft.com/office/drawing/2014/main" id="{D179ABAB-FE37-A7D8-748C-9C9D2AC1ADC8}"/>
              </a:ext>
            </a:extLst>
          </p:cNvPr>
          <p:cNvSpPr>
            <a:spLocks noGrp="1"/>
          </p:cNvSpPr>
          <p:nvPr>
            <p:ph sz="quarter" idx="18"/>
          </p:nvPr>
        </p:nvSpPr>
        <p:spPr>
          <a:xfrm>
            <a:off x="359639" y="1610782"/>
            <a:ext cx="5627999" cy="4002087"/>
          </a:xfrm>
          <a:solidFill>
            <a:schemeClr val="bg1"/>
          </a:solidFill>
        </p:spPr>
        <p:txBody>
          <a:bodyPr/>
          <a:lstStyle/>
          <a:p>
            <a:r>
              <a:rPr lang="en-US" sz="1800" b="1" dirty="0">
                <a:latin typeface="+mn-lt"/>
              </a:rPr>
              <a:t>Maintaining historical coverage</a:t>
            </a:r>
          </a:p>
          <a:p>
            <a:r>
              <a:rPr lang="en-US" sz="1800" b="1" dirty="0">
                <a:latin typeface="+mn-lt"/>
              </a:rPr>
              <a:t>Adjust number of rounds based on updated stratification</a:t>
            </a:r>
          </a:p>
          <a:p>
            <a:r>
              <a:rPr lang="en-US" sz="1800" b="1" dirty="0">
                <a:latin typeface="+mn-lt"/>
              </a:rPr>
              <a:t>Expand geography</a:t>
            </a:r>
          </a:p>
          <a:p>
            <a:r>
              <a:rPr lang="en-US" sz="1800" b="1" dirty="0">
                <a:latin typeface="+mn-lt"/>
              </a:rPr>
              <a:t>Very limited expansion of age groups</a:t>
            </a:r>
          </a:p>
          <a:p>
            <a:r>
              <a:rPr lang="en-US" sz="1800" b="1" dirty="0">
                <a:latin typeface="+mn-lt"/>
              </a:rPr>
              <a:t>Programmatic adjustments:</a:t>
            </a:r>
          </a:p>
          <a:p>
            <a:pPr lvl="2"/>
            <a:r>
              <a:rPr lang="en-US" sz="1600" b="1" dirty="0"/>
              <a:t>Quality improvements</a:t>
            </a:r>
          </a:p>
          <a:p>
            <a:pPr lvl="2"/>
            <a:r>
              <a:rPr lang="en-US" sz="1600" b="1" dirty="0"/>
              <a:t>Integration (e.g. with ITN campaign; use existing CHWs, etc.)</a:t>
            </a:r>
          </a:p>
          <a:p>
            <a:pPr lvl="2"/>
            <a:r>
              <a:rPr lang="en-US" sz="1600" b="1" dirty="0"/>
              <a:t>Strengthen monitoring</a:t>
            </a:r>
          </a:p>
          <a:p>
            <a:pPr lvl="2"/>
            <a:endParaRPr lang="en-US" b="1" dirty="0"/>
          </a:p>
          <a:p>
            <a:pPr lvl="1"/>
            <a:r>
              <a:rPr lang="en-US" sz="1800" b="1" dirty="0"/>
              <a:t>Countries are also prioritizing strengthening data quality and use to ensure programs can make a robust analysis to target SMC as well as adapt implementation, so all children are consistently reached.</a:t>
            </a:r>
          </a:p>
          <a:p>
            <a:endParaRPr lang="en-US" dirty="0"/>
          </a:p>
        </p:txBody>
      </p:sp>
      <p:sp>
        <p:nvSpPr>
          <p:cNvPr id="5" name="Title 4">
            <a:extLst>
              <a:ext uri="{FF2B5EF4-FFF2-40B4-BE49-F238E27FC236}">
                <a16:creationId xmlns:a16="http://schemas.microsoft.com/office/drawing/2014/main" id="{549587BE-79AE-F95B-A6A0-7EFE7BB463CE}"/>
              </a:ext>
            </a:extLst>
          </p:cNvPr>
          <p:cNvSpPr>
            <a:spLocks noGrp="1"/>
          </p:cNvSpPr>
          <p:nvPr>
            <p:ph type="title"/>
          </p:nvPr>
        </p:nvSpPr>
        <p:spPr/>
        <p:txBody>
          <a:bodyPr/>
          <a:lstStyle/>
          <a:p>
            <a:r>
              <a:rPr lang="en-US" dirty="0"/>
              <a:t>What have countries asked GF to cover? </a:t>
            </a:r>
            <a:br>
              <a:rPr lang="fr-FR" dirty="0">
                <a:effectLst/>
                <a:latin typeface="Segoe UI Web (West European)"/>
              </a:rPr>
            </a:br>
            <a:endParaRPr lang="en-US" dirty="0"/>
          </a:p>
        </p:txBody>
      </p:sp>
      <p:sp>
        <p:nvSpPr>
          <p:cNvPr id="6" name="Text Placeholder 5">
            <a:extLst>
              <a:ext uri="{FF2B5EF4-FFF2-40B4-BE49-F238E27FC236}">
                <a16:creationId xmlns:a16="http://schemas.microsoft.com/office/drawing/2014/main" id="{36951E3E-7B74-24EC-E5F8-149E4193244E}"/>
              </a:ext>
            </a:extLst>
          </p:cNvPr>
          <p:cNvSpPr>
            <a:spLocks noGrp="1"/>
          </p:cNvSpPr>
          <p:nvPr>
            <p:ph type="body" sz="quarter" idx="13"/>
          </p:nvPr>
        </p:nvSpPr>
        <p:spPr/>
        <p:txBody>
          <a:bodyPr/>
          <a:lstStyle/>
          <a:p>
            <a:r>
              <a:rPr lang="fr-FR" dirty="0">
                <a:effectLst/>
                <a:latin typeface="Segoe UI Web (West European)"/>
              </a:rPr>
              <a:t>Qu’est-ce que les pays ont demandé à FM de couvrir ?</a:t>
            </a:r>
            <a:endParaRPr lang="en-US" dirty="0"/>
          </a:p>
        </p:txBody>
      </p:sp>
    </p:spTree>
    <p:extLst>
      <p:ext uri="{BB962C8B-B14F-4D97-AF65-F5344CB8AC3E}">
        <p14:creationId xmlns:p14="http://schemas.microsoft.com/office/powerpoint/2010/main" val="404459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descr="A person pouring water into a child's face&#10;&#10;Description automatically generated">
            <a:extLst>
              <a:ext uri="{FF2B5EF4-FFF2-40B4-BE49-F238E27FC236}">
                <a16:creationId xmlns:a16="http://schemas.microsoft.com/office/drawing/2014/main" id="{755112C6-9A3C-D1ED-1DFA-59BCF90C9AE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0524" y="902568"/>
            <a:ext cx="3680855" cy="5468616"/>
          </a:xfrm>
        </p:spPr>
      </p:pic>
      <p:sp>
        <p:nvSpPr>
          <p:cNvPr id="13" name="Slide Number Placeholder 2">
            <a:extLst>
              <a:ext uri="{FF2B5EF4-FFF2-40B4-BE49-F238E27FC236}">
                <a16:creationId xmlns:a16="http://schemas.microsoft.com/office/drawing/2014/main" id="{C9CA694A-953B-A6DB-7A00-7D0DA8545F22}"/>
              </a:ext>
            </a:extLst>
          </p:cNvPr>
          <p:cNvSpPr>
            <a:spLocks noGrp="1"/>
          </p:cNvSpPr>
          <p:nvPr>
            <p:ph type="sldNum" sz="quarter" idx="12"/>
          </p:nvPr>
        </p:nvSpPr>
        <p:spPr/>
        <p:txBody>
          <a:bodyPr/>
          <a:lstStyle/>
          <a:p>
            <a:pPr>
              <a:spcAft>
                <a:spcPts val="600"/>
              </a:spcAft>
            </a:pPr>
            <a:fld id="{9E2BE927-25C7-4379-86F1-C17ED9D2A7F2}" type="slidenum">
              <a:rPr lang="en-US" smtClean="0"/>
              <a:pPr>
                <a:spcAft>
                  <a:spcPts val="600"/>
                </a:spcAft>
              </a:pPr>
              <a:t>4</a:t>
            </a:fld>
            <a:endParaRPr lang="en-US" dirty="0"/>
          </a:p>
        </p:txBody>
      </p:sp>
      <p:sp>
        <p:nvSpPr>
          <p:cNvPr id="9" name="Content Placeholder 8">
            <a:extLst>
              <a:ext uri="{FF2B5EF4-FFF2-40B4-BE49-F238E27FC236}">
                <a16:creationId xmlns:a16="http://schemas.microsoft.com/office/drawing/2014/main" id="{48D211F0-EFA3-0ED4-3DE1-5F103BA1D569}"/>
              </a:ext>
            </a:extLst>
          </p:cNvPr>
          <p:cNvSpPr>
            <a:spLocks noGrp="1"/>
          </p:cNvSpPr>
          <p:nvPr>
            <p:ph idx="16"/>
          </p:nvPr>
        </p:nvSpPr>
        <p:spPr>
          <a:xfrm>
            <a:off x="4103764" y="902568"/>
            <a:ext cx="7983133" cy="5483944"/>
          </a:xfrm>
          <a:solidFill>
            <a:schemeClr val="bg1"/>
          </a:solidFill>
        </p:spPr>
        <p:txBody>
          <a:bodyPr/>
          <a:lstStyle/>
          <a:p>
            <a:pPr defTabSz="603504">
              <a:spcAft>
                <a:spcPts val="600"/>
              </a:spcAft>
            </a:pPr>
            <a:r>
              <a:rPr lang="en-US" sz="1500" b="1" kern="1200" dirty="0">
                <a:solidFill>
                  <a:schemeClr val="tx1"/>
                </a:solidFill>
                <a:latin typeface="+mn-lt"/>
                <a:ea typeface="+mn-ea"/>
                <a:cs typeface="+mn-cs"/>
              </a:rPr>
              <a:t>This time last year, there were MANY gaps in maintaining historical coverage of GF-supported SMC, particularly in Yr3 of GC7 funding requests</a:t>
            </a:r>
            <a:r>
              <a:rPr lang="fr-FR" sz="1500" b="1" dirty="0">
                <a:effectLst/>
                <a:latin typeface="+mn-lt"/>
              </a:rPr>
              <a:t> </a:t>
            </a:r>
          </a:p>
          <a:p>
            <a:pPr marL="181950" lvl="2" indent="0" defTabSz="603504">
              <a:spcAft>
                <a:spcPts val="600"/>
              </a:spcAft>
              <a:buNone/>
            </a:pPr>
            <a:r>
              <a:rPr lang="fr-FR" sz="1500" dirty="0">
                <a:effectLst/>
              </a:rPr>
              <a:t>À la même période l’année dernière, il y avait BEAUCOUP de lacunes dans le maintien de la couverture historique des CPS soutenus par FM, en particulier dans l’année 3 des demandes de financement du GC7</a:t>
            </a:r>
          </a:p>
          <a:p>
            <a:pPr defTabSz="603504">
              <a:spcAft>
                <a:spcPts val="600"/>
              </a:spcAft>
            </a:pPr>
            <a:r>
              <a:rPr lang="en-US" sz="1500" b="1" kern="1200" dirty="0">
                <a:solidFill>
                  <a:schemeClr val="tx1"/>
                </a:solidFill>
                <a:latin typeface="+mn-lt"/>
                <a:ea typeface="+mn-ea"/>
                <a:cs typeface="+mn-cs"/>
              </a:rPr>
              <a:t>During grant-making, most countries (but NOT all) have been able to cover gaps by finding efficiencies, working with partners to secure additional resources and deprioritizing less impactful interventions</a:t>
            </a:r>
          </a:p>
          <a:p>
            <a:pPr marL="181950" lvl="2" indent="0" defTabSz="603504">
              <a:spcAft>
                <a:spcPts val="600"/>
              </a:spcAft>
              <a:buNone/>
            </a:pPr>
            <a:r>
              <a:rPr lang="fr-FR" sz="1500" dirty="0">
                <a:effectLst/>
              </a:rPr>
              <a:t>Au cours de l’octroi des subventions, la plupart des pays (mais pas tous) ont été en mesure de combler les lacunes en trouvant des gains d’efficacité, en travaillant avec des partenaires pour obtenir des ressources supplémentaires et en dépriorisant les interventions à faible impact</a:t>
            </a:r>
            <a:endParaRPr lang="en-US" sz="1500" kern="1200" dirty="0">
              <a:solidFill>
                <a:schemeClr val="tx1"/>
              </a:solidFill>
              <a:ea typeface="+mn-ea"/>
              <a:cs typeface="+mn-cs"/>
            </a:endParaRPr>
          </a:p>
          <a:p>
            <a:pPr defTabSz="603504">
              <a:spcAft>
                <a:spcPts val="600"/>
              </a:spcAft>
            </a:pPr>
            <a:r>
              <a:rPr lang="en-US" sz="1500" b="1" kern="1200" dirty="0">
                <a:solidFill>
                  <a:schemeClr val="tx1"/>
                </a:solidFill>
                <a:latin typeface="+mn-lt"/>
                <a:ea typeface="+mn-ea"/>
                <a:cs typeface="+mn-cs"/>
              </a:rPr>
              <a:t>To date – the GF Unfunded Quality Demand Register (from country PAARs) = $48.3m to:</a:t>
            </a:r>
          </a:p>
          <a:p>
            <a:pPr marL="181950" lvl="2" indent="0" defTabSz="603504">
              <a:spcAft>
                <a:spcPts val="600"/>
              </a:spcAft>
              <a:buNone/>
            </a:pPr>
            <a:r>
              <a:rPr lang="fr-FR" sz="1500" dirty="0">
                <a:effectLst/>
              </a:rPr>
              <a:t>À ce jour, le registre de la demande de qualité non financée du FM (à partir des PAAR nationaux) = $48,3m pour:</a:t>
            </a:r>
            <a:endParaRPr lang="en-US" sz="1500" kern="1200" dirty="0">
              <a:solidFill>
                <a:schemeClr val="tx1"/>
              </a:solidFill>
              <a:ea typeface="+mn-ea"/>
              <a:cs typeface="+mn-cs"/>
            </a:endParaRPr>
          </a:p>
          <a:p>
            <a:pPr marL="905256" lvl="3" defTabSz="603504">
              <a:spcAft>
                <a:spcPts val="600"/>
              </a:spcAft>
            </a:pPr>
            <a:r>
              <a:rPr lang="en-US" sz="1300" b="1" kern="1200" dirty="0">
                <a:solidFill>
                  <a:schemeClr val="tx1"/>
                </a:solidFill>
                <a:ea typeface="+mn-ea"/>
                <a:cs typeface="+mn-cs"/>
              </a:rPr>
              <a:t>Expand geography/populations </a:t>
            </a:r>
            <a:r>
              <a:rPr lang="en-US" sz="1300" kern="1200" dirty="0">
                <a:solidFill>
                  <a:schemeClr val="tx1"/>
                </a:solidFill>
                <a:ea typeface="+mn-ea"/>
                <a:cs typeface="+mn-cs"/>
              </a:rPr>
              <a:t>/ </a:t>
            </a:r>
            <a:r>
              <a:rPr lang="fr-FR" sz="1300" dirty="0">
                <a:effectLst/>
              </a:rPr>
              <a:t>Étendre la géographie et les populations</a:t>
            </a:r>
            <a:endParaRPr lang="en-US" sz="1300" kern="1200" dirty="0">
              <a:solidFill>
                <a:schemeClr val="tx1"/>
              </a:solidFill>
              <a:ea typeface="+mn-ea"/>
              <a:cs typeface="+mn-cs"/>
            </a:endParaRPr>
          </a:p>
          <a:p>
            <a:pPr marL="905256" lvl="3" defTabSz="603504">
              <a:spcAft>
                <a:spcPts val="600"/>
              </a:spcAft>
            </a:pPr>
            <a:r>
              <a:rPr lang="en-US" sz="1300" b="1" kern="1200" dirty="0">
                <a:solidFill>
                  <a:schemeClr val="tx1"/>
                </a:solidFill>
                <a:ea typeface="+mn-ea"/>
                <a:cs typeface="+mn-cs"/>
              </a:rPr>
              <a:t>Expand age groups </a:t>
            </a:r>
            <a:r>
              <a:rPr lang="en-US" sz="1300" kern="1200" dirty="0">
                <a:solidFill>
                  <a:schemeClr val="tx1"/>
                </a:solidFill>
                <a:ea typeface="+mn-ea"/>
                <a:cs typeface="+mn-cs"/>
              </a:rPr>
              <a:t>/ </a:t>
            </a:r>
            <a:r>
              <a:rPr lang="fr-FR" sz="1300" dirty="0">
                <a:effectLst/>
              </a:rPr>
              <a:t>Élargir les groupes d’âge</a:t>
            </a:r>
            <a:endParaRPr lang="en-US" sz="1300" kern="1200" dirty="0">
              <a:solidFill>
                <a:schemeClr val="tx1"/>
              </a:solidFill>
              <a:ea typeface="+mn-ea"/>
              <a:cs typeface="+mn-cs"/>
            </a:endParaRPr>
          </a:p>
          <a:p>
            <a:pPr marL="905256" lvl="3" defTabSz="603504">
              <a:spcAft>
                <a:spcPts val="600"/>
              </a:spcAft>
            </a:pPr>
            <a:r>
              <a:rPr lang="en-US" sz="1300" b="1" kern="1200" dirty="0">
                <a:solidFill>
                  <a:schemeClr val="tx1"/>
                </a:solidFill>
                <a:ea typeface="+mn-ea"/>
                <a:cs typeface="+mn-cs"/>
              </a:rPr>
              <a:t>Expand number of rounds </a:t>
            </a:r>
            <a:r>
              <a:rPr lang="en-US" sz="1300" kern="1200" dirty="0">
                <a:solidFill>
                  <a:schemeClr val="tx1"/>
                </a:solidFill>
                <a:ea typeface="+mn-ea"/>
                <a:cs typeface="+mn-cs"/>
              </a:rPr>
              <a:t>/ </a:t>
            </a:r>
            <a:r>
              <a:rPr lang="fr-FR" sz="1300" dirty="0">
                <a:effectLst/>
              </a:rPr>
              <a:t>Augmenter le nombre de tours</a:t>
            </a:r>
            <a:endParaRPr lang="en-US" sz="1300" kern="1200" dirty="0">
              <a:solidFill>
                <a:schemeClr val="tx1"/>
              </a:solidFill>
              <a:ea typeface="+mn-ea"/>
              <a:cs typeface="+mn-cs"/>
            </a:endParaRPr>
          </a:p>
          <a:p>
            <a:pPr marL="905256" lvl="3" defTabSz="603504">
              <a:spcAft>
                <a:spcPts val="600"/>
              </a:spcAft>
            </a:pPr>
            <a:r>
              <a:rPr lang="en-US" sz="1300" b="1" kern="1200" dirty="0">
                <a:solidFill>
                  <a:schemeClr val="tx1"/>
                </a:solidFill>
                <a:ea typeface="+mn-ea"/>
                <a:cs typeface="+mn-cs"/>
              </a:rPr>
              <a:t>Introduce SMC </a:t>
            </a:r>
            <a:r>
              <a:rPr lang="en-US" sz="1300" kern="1200" dirty="0">
                <a:solidFill>
                  <a:schemeClr val="tx1"/>
                </a:solidFill>
                <a:ea typeface="+mn-ea"/>
                <a:cs typeface="+mn-cs"/>
              </a:rPr>
              <a:t>/ Introduire CPS</a:t>
            </a:r>
          </a:p>
          <a:p>
            <a:pPr marL="905256" lvl="3" defTabSz="603504">
              <a:spcAft>
                <a:spcPts val="600"/>
              </a:spcAft>
            </a:pPr>
            <a:r>
              <a:rPr lang="en-US" sz="1300" b="1" kern="1200" dirty="0">
                <a:solidFill>
                  <a:schemeClr val="tx1"/>
                </a:solidFill>
                <a:ea typeface="+mn-ea"/>
                <a:cs typeface="+mn-cs"/>
              </a:rPr>
              <a:t>And, of course, maintain existing coverage </a:t>
            </a:r>
            <a:r>
              <a:rPr lang="en-US" sz="1300" kern="1200" dirty="0">
                <a:solidFill>
                  <a:schemeClr val="tx1"/>
                </a:solidFill>
                <a:ea typeface="+mn-ea"/>
                <a:cs typeface="+mn-cs"/>
              </a:rPr>
              <a:t>/ </a:t>
            </a:r>
            <a:r>
              <a:rPr lang="fr-FR" sz="1300" dirty="0">
                <a:effectLst/>
              </a:rPr>
              <a:t>Et, bien sûr, maintenir la couverture existant</a:t>
            </a:r>
          </a:p>
          <a:p>
            <a:pPr marL="905256" lvl="3" defTabSz="603504">
              <a:spcAft>
                <a:spcPts val="600"/>
              </a:spcAft>
            </a:pPr>
            <a:endParaRPr lang="en-US" dirty="0"/>
          </a:p>
          <a:p>
            <a:pPr marL="0" indent="0">
              <a:buNone/>
            </a:pPr>
            <a:endParaRPr lang="en-US" dirty="0"/>
          </a:p>
        </p:txBody>
      </p:sp>
      <p:sp>
        <p:nvSpPr>
          <p:cNvPr id="4" name="Title 3">
            <a:extLst>
              <a:ext uri="{FF2B5EF4-FFF2-40B4-BE49-F238E27FC236}">
                <a16:creationId xmlns:a16="http://schemas.microsoft.com/office/drawing/2014/main" id="{8D4E6032-324D-667A-430D-CA96D155E3D4}"/>
              </a:ext>
            </a:extLst>
          </p:cNvPr>
          <p:cNvSpPr>
            <a:spLocks noGrp="1"/>
          </p:cNvSpPr>
          <p:nvPr>
            <p:ph type="title"/>
          </p:nvPr>
        </p:nvSpPr>
        <p:spPr/>
        <p:txBody>
          <a:bodyPr anchor="t">
            <a:normAutofit fontScale="90000"/>
          </a:bodyPr>
          <a:lstStyle/>
          <a:p>
            <a:r>
              <a:rPr lang="en-US" dirty="0"/>
              <a:t>What are the gaps? </a:t>
            </a:r>
            <a:r>
              <a:rPr lang="fr-FR" dirty="0">
                <a:effectLst/>
                <a:latin typeface="Segoe UI Web (West European)"/>
              </a:rPr>
              <a:t>Quelles sont les lacunes ?</a:t>
            </a:r>
            <a:br>
              <a:rPr lang="fr-FR" dirty="0">
                <a:effectLst/>
                <a:latin typeface="Segoe UI Web (West European)"/>
              </a:rPr>
            </a:br>
            <a:endParaRPr lang="en-US" dirty="0"/>
          </a:p>
        </p:txBody>
      </p:sp>
      <p:sp>
        <p:nvSpPr>
          <p:cNvPr id="2" name="Slide Number Placeholder 1">
            <a:extLst>
              <a:ext uri="{FF2B5EF4-FFF2-40B4-BE49-F238E27FC236}">
                <a16:creationId xmlns:a16="http://schemas.microsoft.com/office/drawing/2014/main" id="{7027FFF0-14C3-F0F1-E7BE-3E9CE40775ED}"/>
              </a:ext>
            </a:extLst>
          </p:cNvPr>
          <p:cNvSpPr>
            <a:spLocks/>
          </p:cNvSpPr>
          <p:nvPr/>
        </p:nvSpPr>
        <p:spPr>
          <a:xfrm>
            <a:off x="11237912" y="5688887"/>
            <a:ext cx="592587" cy="241133"/>
          </a:xfrm>
          <a:prstGeom prst="rect">
            <a:avLst/>
          </a:prstGeom>
        </p:spPr>
        <p:txBody>
          <a:bodyPr/>
          <a:lstStyle/>
          <a:p>
            <a:pPr defTabSz="603504">
              <a:spcAft>
                <a:spcPts val="600"/>
              </a:spcAft>
            </a:pPr>
            <a:fld id="{9E2BE927-25C7-4379-86F1-C17ED9D2A7F2}" type="slidenum">
              <a:rPr lang="en-US" sz="1188" kern="1200">
                <a:solidFill>
                  <a:schemeClr val="tx1"/>
                </a:solidFill>
                <a:latin typeface="+mn-lt"/>
                <a:ea typeface="+mn-ea"/>
                <a:cs typeface="+mn-cs"/>
              </a:rPr>
              <a:pPr defTabSz="603504">
                <a:spcAft>
                  <a:spcPts val="600"/>
                </a:spcAft>
              </a:pPr>
              <a:t>4</a:t>
            </a:fld>
            <a:endParaRPr lang="en-US" dirty="0"/>
          </a:p>
        </p:txBody>
      </p:sp>
    </p:spTree>
    <p:extLst>
      <p:ext uri="{BB962C8B-B14F-4D97-AF65-F5344CB8AC3E}">
        <p14:creationId xmlns:p14="http://schemas.microsoft.com/office/powerpoint/2010/main" val="1620327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BCE61A-4D08-9BEE-5AF1-6F7E97656046}"/>
              </a:ext>
            </a:extLst>
          </p:cNvPr>
          <p:cNvSpPr>
            <a:spLocks noGrp="1"/>
          </p:cNvSpPr>
          <p:nvPr>
            <p:ph type="sldNum" sz="quarter" idx="12"/>
          </p:nvPr>
        </p:nvSpPr>
        <p:spPr/>
        <p:txBody>
          <a:bodyPr/>
          <a:lstStyle/>
          <a:p>
            <a:fld id="{9E2BE927-25C7-4379-86F1-C17ED9D2A7F2}" type="slidenum">
              <a:rPr lang="en-US" smtClean="0"/>
              <a:t>5</a:t>
            </a:fld>
            <a:endParaRPr lang="en-US" dirty="0"/>
          </a:p>
        </p:txBody>
      </p:sp>
      <p:sp>
        <p:nvSpPr>
          <p:cNvPr id="3" name="Content Placeholder 2">
            <a:extLst>
              <a:ext uri="{FF2B5EF4-FFF2-40B4-BE49-F238E27FC236}">
                <a16:creationId xmlns:a16="http://schemas.microsoft.com/office/drawing/2014/main" id="{BDA147EE-77EC-CFC6-8670-755DA4A1AD08}"/>
              </a:ext>
            </a:extLst>
          </p:cNvPr>
          <p:cNvSpPr>
            <a:spLocks noGrp="1"/>
          </p:cNvSpPr>
          <p:nvPr>
            <p:ph sz="quarter" idx="18"/>
          </p:nvPr>
        </p:nvSpPr>
        <p:spPr>
          <a:xfrm>
            <a:off x="273277" y="1469932"/>
            <a:ext cx="11744552" cy="4734018"/>
          </a:xfrm>
          <a:solidFill>
            <a:schemeClr val="bg1"/>
          </a:solidFill>
        </p:spPr>
        <p:txBody>
          <a:bodyPr/>
          <a:lstStyle/>
          <a:p>
            <a:r>
              <a:rPr lang="en-US" dirty="0"/>
              <a:t>Support continues for IPTp / </a:t>
            </a:r>
            <a:r>
              <a:rPr lang="fr-FR" dirty="0">
                <a:effectLst/>
                <a:latin typeface="+mn-lt"/>
              </a:rPr>
              <a:t>La prise en charge du TPIg se poursuit</a:t>
            </a:r>
            <a:endParaRPr lang="en-US" dirty="0">
              <a:latin typeface="+mn-lt"/>
            </a:endParaRPr>
          </a:p>
          <a:p>
            <a:r>
              <a:rPr lang="en-US" dirty="0"/>
              <a:t>Support for newer modalities – limited requests to date</a:t>
            </a:r>
          </a:p>
          <a:p>
            <a:pPr marL="181950" lvl="2" indent="0">
              <a:buNone/>
            </a:pPr>
            <a:r>
              <a:rPr lang="fr-FR" dirty="0">
                <a:effectLst/>
              </a:rPr>
              <a:t>Prise en charge de modalités plus récentes – demandes limitées à ce jour :</a:t>
            </a:r>
            <a:endParaRPr lang="en-US" dirty="0"/>
          </a:p>
          <a:p>
            <a:pPr lvl="3"/>
            <a:r>
              <a:rPr lang="en-US" dirty="0"/>
              <a:t>IPT school children/ TPI </a:t>
            </a:r>
            <a:r>
              <a:rPr lang="fr-FR" dirty="0">
                <a:effectLst/>
              </a:rPr>
              <a:t>é</a:t>
            </a:r>
            <a:r>
              <a:rPr lang="en-US" dirty="0"/>
              <a:t>coliers: ~$ 1m</a:t>
            </a:r>
          </a:p>
          <a:p>
            <a:pPr lvl="3"/>
            <a:r>
              <a:rPr lang="en-US" dirty="0"/>
              <a:t>MDA / AMM: ~$100,000</a:t>
            </a:r>
          </a:p>
          <a:p>
            <a:pPr lvl="3"/>
            <a:r>
              <a:rPr lang="en-US" dirty="0"/>
              <a:t>PMC / CPP: ~$1.6m</a:t>
            </a:r>
          </a:p>
          <a:p>
            <a:pPr lvl="3"/>
            <a:r>
              <a:rPr lang="en-US" dirty="0"/>
              <a:t>Post discharge chemoprevention /</a:t>
            </a:r>
            <a:r>
              <a:rPr lang="fr-FR" dirty="0"/>
              <a:t>après la sortie de l'hôpital</a:t>
            </a:r>
            <a:r>
              <a:rPr lang="en-US" dirty="0"/>
              <a:t>: ~$500,000</a:t>
            </a:r>
          </a:p>
          <a:p>
            <a:pPr lvl="2"/>
            <a:endParaRPr lang="en-US" sz="1000" dirty="0"/>
          </a:p>
          <a:p>
            <a:pPr lvl="1"/>
            <a:r>
              <a:rPr lang="en-US" dirty="0">
                <a:latin typeface="+mj-lt"/>
              </a:rPr>
              <a:t>As GAVI is supporting the roll-out of the malaria vaccine, the Global Fund does not support vaccine-specific activities</a:t>
            </a:r>
          </a:p>
          <a:p>
            <a:pPr marL="180975" lvl="2" indent="0">
              <a:buNone/>
            </a:pPr>
            <a:r>
              <a:rPr lang="fr-FR" dirty="0">
                <a:effectLst/>
              </a:rPr>
              <a:t>Étant donné que GAVI soutient le déploiement du vaccin contre le paludisme, le Fonds mondial ne soutient pas les activités spécifiques aux vaccins</a:t>
            </a:r>
          </a:p>
          <a:p>
            <a:pPr lvl="1"/>
            <a:endParaRPr lang="en-US" sz="1000" dirty="0"/>
          </a:p>
          <a:p>
            <a:pPr lvl="2"/>
            <a:r>
              <a:rPr lang="en-US" dirty="0"/>
              <a:t>Integrated activities – such as NSP development, SBC, community-based surveys (MIS/DHS) that often have GF support, the vaccine can, of course, be included.</a:t>
            </a:r>
          </a:p>
          <a:p>
            <a:pPr lvl="2"/>
            <a:r>
              <a:rPr lang="fr-FR" dirty="0">
                <a:effectLst/>
              </a:rPr>
              <a:t>Les activités intégrées – telles que le développement du PSN, le SBC, les enquêtes communautaires (MIS/DHS) qui bénéficient souvent du soutien du FM, le vaccin peut, bien sûr, être inclus.</a:t>
            </a:r>
          </a:p>
        </p:txBody>
      </p:sp>
      <p:sp>
        <p:nvSpPr>
          <p:cNvPr id="4" name="Title 3">
            <a:extLst>
              <a:ext uri="{FF2B5EF4-FFF2-40B4-BE49-F238E27FC236}">
                <a16:creationId xmlns:a16="http://schemas.microsoft.com/office/drawing/2014/main" id="{B823DFA9-1A23-E60E-D720-4502A88BE4FF}"/>
              </a:ext>
            </a:extLst>
          </p:cNvPr>
          <p:cNvSpPr>
            <a:spLocks noGrp="1"/>
          </p:cNvSpPr>
          <p:nvPr>
            <p:ph type="title"/>
          </p:nvPr>
        </p:nvSpPr>
        <p:spPr/>
        <p:txBody>
          <a:bodyPr/>
          <a:lstStyle/>
          <a:p>
            <a:r>
              <a:rPr lang="en-US" dirty="0"/>
              <a:t>Global Fund support for other chemoprevention</a:t>
            </a:r>
            <a:br>
              <a:rPr lang="en-US" dirty="0"/>
            </a:br>
            <a:r>
              <a:rPr lang="fr-FR" dirty="0">
                <a:effectLst/>
                <a:latin typeface="+mn-lt"/>
              </a:rPr>
              <a:t>Soutien du FM à d’autres activités de chimioprévention</a:t>
            </a:r>
            <a:br>
              <a:rPr lang="fr-FR" dirty="0">
                <a:effectLst/>
                <a:latin typeface="Segoe UI Web (West European)"/>
              </a:rPr>
            </a:br>
            <a:endParaRPr lang="en-US" dirty="0"/>
          </a:p>
        </p:txBody>
      </p:sp>
    </p:spTree>
    <p:extLst>
      <p:ext uri="{BB962C8B-B14F-4D97-AF65-F5344CB8AC3E}">
        <p14:creationId xmlns:p14="http://schemas.microsoft.com/office/powerpoint/2010/main" val="1115093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D1E287-E89B-ADA2-77DB-C9DAD2E7BB27}"/>
              </a:ext>
            </a:extLst>
          </p:cNvPr>
          <p:cNvSpPr>
            <a:spLocks noGrp="1"/>
          </p:cNvSpPr>
          <p:nvPr>
            <p:ph type="body" sz="quarter" idx="17"/>
          </p:nvPr>
        </p:nvSpPr>
        <p:spPr>
          <a:xfrm>
            <a:off x="9049407" y="4875751"/>
            <a:ext cx="2782268" cy="1051777"/>
          </a:xfrm>
        </p:spPr>
        <p:txBody>
          <a:bodyPr/>
          <a:lstStyle/>
          <a:p>
            <a:r>
              <a:rPr lang="en-US" sz="3200" dirty="0"/>
              <a:t>Thank you!</a:t>
            </a:r>
          </a:p>
          <a:p>
            <a:r>
              <a:rPr lang="en-US" sz="3200" dirty="0"/>
              <a:t>Merci!</a:t>
            </a:r>
          </a:p>
          <a:p>
            <a:r>
              <a:rPr lang="en-US" sz="3200" dirty="0"/>
              <a:t>Obrigada!</a:t>
            </a:r>
          </a:p>
        </p:txBody>
      </p:sp>
      <p:pic>
        <p:nvPicPr>
          <p:cNvPr id="9" name="Picture Placeholder 8" descr="A person feeding a baby&#10;&#10;Description automatically generated">
            <a:extLst>
              <a:ext uri="{FF2B5EF4-FFF2-40B4-BE49-F238E27FC236}">
                <a16:creationId xmlns:a16="http://schemas.microsoft.com/office/drawing/2014/main" id="{C7677770-272C-E118-94C8-309BECB993F5}"/>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t="5160" b="5160"/>
          <a:stretch/>
        </p:blipFill>
        <p:spPr/>
      </p:pic>
    </p:spTree>
    <p:extLst>
      <p:ext uri="{BB962C8B-B14F-4D97-AF65-F5344CB8AC3E}">
        <p14:creationId xmlns:p14="http://schemas.microsoft.com/office/powerpoint/2010/main" val="14233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XCOLS" val="9"/>
  <p:tag name="MAXROWS" val="6"/>
  <p:tag name="MAXGUTTERROW" val="1 cm"/>
  <p:tag name="MAXGUTTERCOL" val="1 cm"/>
  <p:tag name="GUIDEMETRICUNIT" val="cm"/>
  <p:tag name="MASTERLEFTMARGIN" val="28.3465"/>
  <p:tag name="MASTERTOPMARGIN" val="141.7324"/>
  <p:tag name="MASTERBOTTOMMARGIN" val="70.8661"/>
  <p:tag name="MASTERRIGHTMARGIN" val="28.3465"/>
  <p:tag name="CUSTMASTERLEFTMARGIN" val="28.3465"/>
  <p:tag name="CUSTMASTERTOPMARGIN" val="141.7324"/>
  <p:tag name="CUSTMASTERBOTTOMMARGIN" val="70.8661"/>
  <p:tag name="CUSTMASTERRIGHTMARGIN" val="28.3465"/>
  <p:tag name="GUIDESAPPLIEDTO" val="2"/>
  <p:tag name="TITLETOPMARGIN" val="21.2599"/>
  <p:tag name="TITLEBOTTOMMARGIN" val="95.25"/>
</p:tagLst>
</file>

<file path=ppt/tags/tag1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xml><?xml version="1.0" encoding="utf-8"?>
<p:tagLst xmlns:a="http://schemas.openxmlformats.org/drawingml/2006/main" xmlns:r="http://schemas.openxmlformats.org/officeDocument/2006/relationships" xmlns:p="http://schemas.openxmlformats.org/presentationml/2006/main">
  <p:tag name="GUIDESTITLESHAPE" val="True"/>
</p:tagLst>
</file>

<file path=ppt/tags/tag20.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xml><?xml version="1.0" encoding="utf-8"?>
<p:tagLst xmlns:a="http://schemas.openxmlformats.org/drawingml/2006/main" xmlns:r="http://schemas.openxmlformats.org/officeDocument/2006/relationships" xmlns:p="http://schemas.openxmlformats.org/presentationml/2006/main">
  <p:tag name="GUIDESMEASURMENT" val="True"/>
</p:tagLst>
</file>

<file path=ppt/tags/tag3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GUIDESTITLESHAPE" val="True"/>
</p:tagLst>
</file>

<file path=ppt/tags/tag47.xml><?xml version="1.0" encoding="utf-8"?>
<p:tagLst xmlns:a="http://schemas.openxmlformats.org/drawingml/2006/main" xmlns:r="http://schemas.openxmlformats.org/officeDocument/2006/relationships" xmlns:p="http://schemas.openxmlformats.org/presentationml/2006/main">
  <p:tag name="GUIDESMEASURMENT" val="True"/>
</p:tagLst>
</file>

<file path=ppt/tags/tag48.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4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0.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51.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52.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3.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5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6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64.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6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6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68.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6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7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7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7.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7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8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8.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heme/theme1.xml><?xml version="1.0" encoding="utf-8"?>
<a:theme xmlns:a="http://schemas.openxmlformats.org/drawingml/2006/main" name="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2.xml><?xml version="1.0" encoding="utf-8"?>
<a:theme xmlns:a="http://schemas.openxmlformats.org/drawingml/2006/main" name="1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TemplafyFormConfiguration><![CDATA[{"formFields":[{"dataSource":"Languages","displayColumn":"language","defaultValue":"{{UserProfile.DocumentLanguage.Id}}","hideIfNoUserInteractionRequired":false,"distinct":true,"required":true,"autoSelectFirstOption":false,"helpTexts":{"prefix":"","postfix":""},"spacing":{},"type":"dropDown","name":"DocLang","label":"Document Language","fullyQualifiedName":"DocLang"}],"formDataEntries":[{"name":"DocLang","value":"Yq4f8ikL1FlYGwH8CgaazA=="}]}]]></TemplafyFormConfiguration>
</file>

<file path=customXml/item2.xml><?xml version="1.0" encoding="utf-8"?>
<ct:contentTypeSchema xmlns:ct="http://schemas.microsoft.com/office/2006/metadata/contentType" xmlns:ma="http://schemas.microsoft.com/office/2006/metadata/properties/metaAttributes" ct:_="" ma:_="" ma:contentTypeName="Document" ma:contentTypeID="0x010100AE7BB0401969534BB561823CB4051602" ma:contentTypeVersion="12" ma:contentTypeDescription="Create a new document." ma:contentTypeScope="" ma:versionID="41de42d998f1f4c97c4f74016ae5dc26">
  <xsd:schema xmlns:xsd="http://www.w3.org/2001/XMLSchema" xmlns:xs="http://www.w3.org/2001/XMLSchema" xmlns:p="http://schemas.microsoft.com/office/2006/metadata/properties" xmlns:ns2="19cddd4c-dfb4-40f1-8fe7-77b6b002eace" xmlns:ns3="1f36b386-9306-4f53-ac12-250fc8c7f5e3" targetNamespace="http://schemas.microsoft.com/office/2006/metadata/properties" ma:root="true" ma:fieldsID="b3fffe706c43cf45e33465d45a140882" ns2:_="" ns3:_="">
    <xsd:import namespace="19cddd4c-dfb4-40f1-8fe7-77b6b002eace"/>
    <xsd:import namespace="1f36b386-9306-4f53-ac12-250fc8c7f5e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cddd4c-dfb4-40f1-8fe7-77b6b002ea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f36b386-9306-4f53-ac12-250fc8c7f5e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TemplafyTemplateConfiguration><![CDATA[{"elementsMetadata":[{"type":"shape","id":"f0bc6c0f-c9f3-4d85-a319-f8ec4ea08148","elementConfiguration":{"inheritDimensions":"inheritWidth","binding":"Form.DocLang.Logo_horizontal","disableUpdates":false,"type":"image"}},{"type":"shape","id":"aa3c32e9-0ebe-485c-bf40-200cdec6bc6e","elementConfiguration":{"inheritDimensions":"inheritWidth","binding":"Form.DocLang.Logo_stacked_black","disableUpdates":false,"type":"image"}},{"type":"shape","id":"93019f05-2348-475b-8cfa-9fa5702f9b91","elementConfiguration":{"inheritDimensions":"inheritWidth","binding":"Form.DocLang.Logo_stacked_black","disableUpdates":false,"type":"image"}},{"type":"shape","id":"2fece4a5-9b34-49e1-9a64-501dceb14d41","elementConfiguration":{"inheritDimensions":"inheritWidth","binding":"Form.DocLang.Logo_stacked_black","disableUpdates":false,"type":"image"}},{"type":"shape","id":"94c3332a-4b89-498e-a421-915a30da93de","elementConfiguration":{"inheritDimensions":"inheritWidth","binding":"Form.DocLang.Logo_stacked_black","disableUpdates":false,"type":"image"}},{"type":"shape","id":"60831a38-22ff-49a8-ab4d-ae4c230aebe0","elementConfiguration":{"inheritDimensions":"inheritWidth","binding":"Form.DocLang.Logo_stacked_black","disableUpdates":false,"type":"image"}},{"type":"shape","id":"3b282d96-1f7f-4209-a508-caf09dd046ea","elementConfiguration":{"inheritDimensions":"inheritWidth","binding":"Form.DocLang.Logo_stacked_colour","disableUpdates":false,"type":"image"}},{"type":"shape","id":"3b294eaa-74c1-4407-9435-78376c61188b","elementConfiguration":{"inheritDimensions":"inheritWidth","binding":"Form.DocLang.Logo_stacked_black","disableUpdates":false,"type":"image"}},{"type":"shape","id":"7581e200-f22f-4a67-9820-9ac639d36647","elementConfiguration":{"inheritDimensions":"inheritWidth","binding":"Form.DocLang.Logo_stacked_colour","disableUpdates":false,"type":"image"}},{"type":"shape","id":"97d0446e-727e-4cd6-913b-b5d8ae3c6f99","elementConfiguration":{"inheritDimensions":"inheritWidth","binding":"Form.DocLang.Logo_stacked_white","disableUpdates":false,"type":"image"}},{"type":"shape","id":"f7acbf72-47f6-4714-96d8-c6dacaf7205b","elementConfiguration":{"inheritDimensions":"inheritWidth","binding":"Form.DocLang.Logo_stacked_black","disableUpdates":false,"type":"image"}},{"type":"shape","id":"4d93b17e-b8ad-4382-a0d0-ccd95d43c376","elementConfiguration":{"inheritDimensions":"inheritWidth","binding":"Form.DocLang.Logo_stacked_black","disableUpdates":false,"type":"image"}},{"type":"shape","id":"47650f6f-6e13-41ce-89da-c2e8f066138c","elementConfiguration":{"inheritDimensions":"inheritWidth","binding":"Form.DocLang.Logo_stacked_colour","disableUpdates":false,"type":"image"}}],"transformationConfigurations":[{"language":"{{Form.DocLang.StdSpell}}","disableUpdates":false,"type":"proofingLanguage"}],"templateName":"","templateDescription":"","enableDocumentContentUpdater":true,"version":"1.10"}]]></TemplafyTemplateConfiguration>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TemplafySlideTemplateConfiguration><![CDATA[{"documentContentValidatorConfiguration":{"enableDocumentContentValidator":false,"documentContentValidatorVersion":0},"elementsMetadata":[],"slideId":"637583062408793423","enableDocumentContentUpdater":true,"version":"1.10"}]]></TemplafySlideTemplateConfiguration>
</file>

<file path=customXml/item7.xml><?xml version="1.0" encoding="utf-8"?>
<TemplafySlideFormConfiguration><![CDATA[{"formFields":[],"formDataEntries":[]}]]></TemplafySlideFormConfiguration>
</file>

<file path=customXml/itemProps1.xml><?xml version="1.0" encoding="utf-8"?>
<ds:datastoreItem xmlns:ds="http://schemas.openxmlformats.org/officeDocument/2006/customXml" ds:itemID="{3767200E-D1D8-4965-855E-9803E6657062}">
  <ds:schemaRefs/>
</ds:datastoreItem>
</file>

<file path=customXml/itemProps2.xml><?xml version="1.0" encoding="utf-8"?>
<ds:datastoreItem xmlns:ds="http://schemas.openxmlformats.org/officeDocument/2006/customXml" ds:itemID="{1642016F-9D61-4A35-A8F0-E1457E377E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cddd4c-dfb4-40f1-8fe7-77b6b002eace"/>
    <ds:schemaRef ds:uri="1f36b386-9306-4f53-ac12-250fc8c7f5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4B83C46-1F1A-4859-B726-FAA3C0298E1C}">
  <ds:schemaRefs/>
</ds:datastoreItem>
</file>

<file path=customXml/itemProps4.xml><?xml version="1.0" encoding="utf-8"?>
<ds:datastoreItem xmlns:ds="http://schemas.openxmlformats.org/officeDocument/2006/customXml" ds:itemID="{78C4199D-B32C-43FE-8FA0-D74E0A2A7557}">
  <ds:schemaRefs>
    <ds:schemaRef ds:uri="1f36b386-9306-4f53-ac12-250fc8c7f5e3"/>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19cddd4c-dfb4-40f1-8fe7-77b6b002eace"/>
    <ds:schemaRef ds:uri="http://schemas.openxmlformats.org/package/2006/metadata/core-properties"/>
    <ds:schemaRef ds:uri="http://www.w3.org/XML/1998/namespace"/>
  </ds:schemaRefs>
</ds:datastoreItem>
</file>

<file path=customXml/itemProps5.xml><?xml version="1.0" encoding="utf-8"?>
<ds:datastoreItem xmlns:ds="http://schemas.openxmlformats.org/officeDocument/2006/customXml" ds:itemID="{B5CC00E5-0E29-472D-A362-2B448A7C6B47}">
  <ds:schemaRefs>
    <ds:schemaRef ds:uri="http://schemas.microsoft.com/sharepoint/v3/contenttype/forms"/>
  </ds:schemaRefs>
</ds:datastoreItem>
</file>

<file path=customXml/itemProps6.xml><?xml version="1.0" encoding="utf-8"?>
<ds:datastoreItem xmlns:ds="http://schemas.openxmlformats.org/officeDocument/2006/customXml" ds:itemID="{1D9E4621-3ECE-4CD8-B100-C5147E981615}">
  <ds:schemaRefs/>
</ds:datastoreItem>
</file>

<file path=customXml/itemProps7.xml><?xml version="1.0" encoding="utf-8"?>
<ds:datastoreItem xmlns:ds="http://schemas.openxmlformats.org/officeDocument/2006/customXml" ds:itemID="{2A3188AA-FA26-460D-879A-0F383BE22C80}">
  <ds:schemaRefs/>
</ds:datastoreItem>
</file>

<file path=docMetadata/LabelInfo.xml><?xml version="1.0" encoding="utf-8"?>
<clbl:labelList xmlns:clbl="http://schemas.microsoft.com/office/2020/mipLabelMetadata">
  <clbl:label id="{77920909-8782-4efb-aaf1-44ac114d7c03}" enabled="0" method="" siteId="{77920909-8782-4efb-aaf1-44ac114d7c03}" removed="1"/>
</clbl:labelList>
</file>

<file path=docProps/app.xml><?xml version="1.0" encoding="utf-8"?>
<Properties xmlns="http://schemas.openxmlformats.org/officeDocument/2006/extended-properties" xmlns:vt="http://schemas.openxmlformats.org/officeDocument/2006/docPropsVTypes">
  <Template>Presentation</Template>
  <TotalTime>1821</TotalTime>
  <Words>749</Words>
  <Application>Microsoft Office PowerPoint</Application>
  <PresentationFormat>Widescreen</PresentationFormat>
  <Paragraphs>63</Paragraphs>
  <Slides>6</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3" baseType="lpstr">
      <vt:lpstr>Arial</vt:lpstr>
      <vt:lpstr>Arial Black</vt:lpstr>
      <vt:lpstr>Calibri</vt:lpstr>
      <vt:lpstr>Segoe UI Web (West European)</vt:lpstr>
      <vt:lpstr>Office Theme</vt:lpstr>
      <vt:lpstr>1_Office Theme</vt:lpstr>
      <vt:lpstr>think-cell Slide</vt:lpstr>
      <vt:lpstr>SMC Alliance Annual Meeting: Global Fund Updates Réunion annuelle de l’Alliance CPS : Mises à jour du Fonds mondial </vt:lpstr>
      <vt:lpstr>GF support for SMC to date Prise en charge de FM pour CPS à ce jour </vt:lpstr>
      <vt:lpstr>What have countries asked GF to cover?  </vt:lpstr>
      <vt:lpstr>What are the gaps? Quelles sont les lacunes ? </vt:lpstr>
      <vt:lpstr>Global Fund support for other chemoprevention Soutien du FM à d’autres activités de chimioprévention </vt:lpstr>
      <vt:lpstr>PowerPoint Presentation</vt:lpstr>
    </vt:vector>
  </TitlesOfParts>
  <Company>Mediasterl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Global Fund</dc:creator>
  <cp:lastModifiedBy>Sussann Nasr</cp:lastModifiedBy>
  <cp:revision>23</cp:revision>
  <dcterms:created xsi:type="dcterms:W3CDTF">2021-05-25T12:15:07Z</dcterms:created>
  <dcterms:modified xsi:type="dcterms:W3CDTF">2024-02-26T12:0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2</vt:lpwstr>
  </property>
  <property fmtid="{D5CDD505-2E9C-101B-9397-08002B2CF9AE}" pid="3" name="TemplafyTimeStamp">
    <vt:lpwstr>2021-06-03T08:37:19.7193650Z</vt:lpwstr>
  </property>
  <property fmtid="{D5CDD505-2E9C-101B-9397-08002B2CF9AE}" pid="4" name="ContentTypeId">
    <vt:lpwstr>0x010100AE7BB0401969534BB561823CB4051602</vt:lpwstr>
  </property>
  <property fmtid="{D5CDD505-2E9C-101B-9397-08002B2CF9AE}" pid="5" name="TemplafyTenantId">
    <vt:lpwstr>theglobalfund</vt:lpwstr>
  </property>
  <property fmtid="{D5CDD505-2E9C-101B-9397-08002B2CF9AE}" pid="6" name="TemplafyTemplateId">
    <vt:lpwstr>637578145338082095</vt:lpwstr>
  </property>
  <property fmtid="{D5CDD505-2E9C-101B-9397-08002B2CF9AE}" pid="7" name="TemplafyUserProfileId">
    <vt:lpwstr>636916283870215233</vt:lpwstr>
  </property>
  <property fmtid="{D5CDD505-2E9C-101B-9397-08002B2CF9AE}" pid="8" name="TemplafyLanguageCode">
    <vt:lpwstr>en-US</vt:lpwstr>
  </property>
</Properties>
</file>